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7" r:id="rId5"/>
    <p:sldMasterId id="2147483691" r:id="rId6"/>
  </p:sldMasterIdLst>
  <p:notesMasterIdLst>
    <p:notesMasterId r:id="rId30"/>
  </p:notesMasterIdLst>
  <p:handoutMasterIdLst>
    <p:handoutMasterId r:id="rId31"/>
  </p:handoutMasterIdLst>
  <p:sldIdLst>
    <p:sldId id="279" r:id="rId7"/>
    <p:sldId id="2147138996" r:id="rId8"/>
    <p:sldId id="2147139011" r:id="rId9"/>
    <p:sldId id="2147139019" r:id="rId10"/>
    <p:sldId id="2147139020" r:id="rId11"/>
    <p:sldId id="2147138999" r:id="rId12"/>
    <p:sldId id="2147139029" r:id="rId13"/>
    <p:sldId id="2147139021" r:id="rId14"/>
    <p:sldId id="2147139022" r:id="rId15"/>
    <p:sldId id="2147139023" r:id="rId16"/>
    <p:sldId id="2147139010" r:id="rId17"/>
    <p:sldId id="258" r:id="rId18"/>
    <p:sldId id="281" r:id="rId19"/>
    <p:sldId id="271" r:id="rId20"/>
    <p:sldId id="282" r:id="rId21"/>
    <p:sldId id="2147139027" r:id="rId22"/>
    <p:sldId id="2147138998" r:id="rId23"/>
    <p:sldId id="2147139024" r:id="rId24"/>
    <p:sldId id="2147139033" r:id="rId25"/>
    <p:sldId id="2147139032" r:id="rId26"/>
    <p:sldId id="2147139030" r:id="rId27"/>
    <p:sldId id="2147139025" r:id="rId28"/>
    <p:sldId id="214713903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4443396-72B3-471E-8E84-3EE8E69A5FAD}">
          <p14:sldIdLst>
            <p14:sldId id="279"/>
            <p14:sldId id="2147138996"/>
            <p14:sldId id="2147139011"/>
            <p14:sldId id="2147139019"/>
            <p14:sldId id="2147139020"/>
            <p14:sldId id="2147138999"/>
            <p14:sldId id="2147139029"/>
            <p14:sldId id="2147139021"/>
            <p14:sldId id="2147139022"/>
            <p14:sldId id="2147139023"/>
            <p14:sldId id="2147139010"/>
            <p14:sldId id="258"/>
            <p14:sldId id="281"/>
            <p14:sldId id="271"/>
            <p14:sldId id="282"/>
            <p14:sldId id="2147139027"/>
            <p14:sldId id="2147138998"/>
            <p14:sldId id="2147139024"/>
            <p14:sldId id="2147139033"/>
            <p14:sldId id="2147139032"/>
            <p14:sldId id="2147139030"/>
            <p14:sldId id="2147139025"/>
            <p14:sldId id="214713903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0B52"/>
    <a:srgbClr val="E9EBF5"/>
    <a:srgbClr val="000000"/>
    <a:srgbClr val="B3E6F8"/>
    <a:srgbClr val="F3FCFE"/>
    <a:srgbClr val="D9F3FC"/>
    <a:srgbClr val="C0EAF8"/>
    <a:srgbClr val="9D9D9C"/>
    <a:srgbClr val="EA85A8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33"/>
    <p:restoredTop sz="96320"/>
  </p:normalViewPr>
  <p:slideViewPr>
    <p:cSldViewPr snapToGrid="0" snapToObjects="1">
      <p:cViewPr varScale="1">
        <p:scale>
          <a:sx n="110" d="100"/>
          <a:sy n="110" d="100"/>
        </p:scale>
        <p:origin x="1008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-3204"/>
    </p:cViewPr>
  </p:sorterViewPr>
  <p:notesViewPr>
    <p:cSldViewPr snapToGrid="0" snapToObjects="1">
      <p:cViewPr varScale="1">
        <p:scale>
          <a:sx n="169" d="100"/>
          <a:sy n="169" d="100"/>
        </p:scale>
        <p:origin x="540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an Williamson" userId="fb352857-dea6-4a7d-a0b9-0c14731bd26f" providerId="ADAL" clId="{38F80BEC-0AAC-415F-97F4-BE36AF208416}"/>
    <pc:docChg chg="modSld">
      <pc:chgData name="Alan Williamson" userId="fb352857-dea6-4a7d-a0b9-0c14731bd26f" providerId="ADAL" clId="{38F80BEC-0AAC-415F-97F4-BE36AF208416}" dt="2023-03-10T09:59:32.262" v="0" actId="1076"/>
      <pc:docMkLst>
        <pc:docMk/>
      </pc:docMkLst>
      <pc:sldChg chg="modSp mod">
        <pc:chgData name="Alan Williamson" userId="fb352857-dea6-4a7d-a0b9-0c14731bd26f" providerId="ADAL" clId="{38F80BEC-0AAC-415F-97F4-BE36AF208416}" dt="2023-03-10T09:59:32.262" v="0" actId="1076"/>
        <pc:sldMkLst>
          <pc:docMk/>
          <pc:sldMk cId="3138066439" sldId="271"/>
        </pc:sldMkLst>
        <pc:picChg chg="mod">
          <ac:chgData name="Alan Williamson" userId="fb352857-dea6-4a7d-a0b9-0c14731bd26f" providerId="ADAL" clId="{38F80BEC-0AAC-415F-97F4-BE36AF208416}" dt="2023-03-10T09:59:32.262" v="0" actId="1076"/>
          <ac:picMkLst>
            <pc:docMk/>
            <pc:sldMk cId="3138066439" sldId="271"/>
            <ac:picMk id="17" creationId="{9B51E734-200D-41FA-9A37-463F8614030E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27F8A4F-7B43-034B-9BD6-CCB21449F0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C574CD-1031-ED4E-BC37-F0A2216372E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2250AA-8652-554D-A79D-BD628FB3E9E9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29286B-7440-4744-8998-C63C32517D7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05A6AC-86DC-8E4D-998B-67285607CB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666B1A-78A3-484C-857E-1AA5FDC85D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786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40E7A7-4BF5-4973-AF11-274E1DCE21CD}" type="datetimeFigureOut">
              <a:rPr lang="en-GB" smtClean="0"/>
              <a:t>10/03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A063C9-E1D4-4A68-ABD0-3E27E181002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05942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Title Slid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7F2869D-BF56-2D46-822C-C4148C6C7690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0007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62114BE7-E80F-9447-A32F-F063AABB71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80041" y="1668523"/>
            <a:ext cx="5733159" cy="5009477"/>
          </a:xfrm>
          <a:custGeom>
            <a:avLst/>
            <a:gdLst>
              <a:gd name="connsiteX0" fmla="*/ 3135975 w 5733159"/>
              <a:gd name="connsiteY0" fmla="*/ 0 h 5009477"/>
              <a:gd name="connsiteX1" fmla="*/ 3542736 w 5733159"/>
              <a:gd name="connsiteY1" fmla="*/ 236479 h 5009477"/>
              <a:gd name="connsiteX2" fmla="*/ 3948965 w 5733159"/>
              <a:gd name="connsiteY2" fmla="*/ 310 h 5009477"/>
              <a:gd name="connsiteX3" fmla="*/ 5733158 w 5733159"/>
              <a:gd name="connsiteY3" fmla="*/ 1037586 h 5009477"/>
              <a:gd name="connsiteX4" fmla="*/ 5733159 w 5733159"/>
              <a:gd name="connsiteY4" fmla="*/ 5009477 h 5009477"/>
              <a:gd name="connsiteX5" fmla="*/ 4338 w 5733159"/>
              <a:gd name="connsiteY5" fmla="*/ 5009477 h 5009477"/>
              <a:gd name="connsiteX6" fmla="*/ 4339 w 5733159"/>
              <a:gd name="connsiteY6" fmla="*/ 2425878 h 5009477"/>
              <a:gd name="connsiteX7" fmla="*/ 0 w 5733159"/>
              <a:gd name="connsiteY7" fmla="*/ 2261102 h 5009477"/>
              <a:gd name="connsiteX8" fmla="*/ 432506 w 5733159"/>
              <a:gd name="connsiteY8" fmla="*/ 1568961 h 5009477"/>
              <a:gd name="connsiteX9" fmla="*/ 1117251 w 5733159"/>
              <a:gd name="connsiteY9" fmla="*/ 1173625 h 5009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33159" h="5009477">
                <a:moveTo>
                  <a:pt x="3135975" y="0"/>
                </a:moveTo>
                <a:lnTo>
                  <a:pt x="3542736" y="236479"/>
                </a:lnTo>
                <a:lnTo>
                  <a:pt x="3948965" y="310"/>
                </a:lnTo>
                <a:lnTo>
                  <a:pt x="5733158" y="1037586"/>
                </a:lnTo>
                <a:lnTo>
                  <a:pt x="5733159" y="5009477"/>
                </a:lnTo>
                <a:lnTo>
                  <a:pt x="4338" y="5009477"/>
                </a:lnTo>
                <a:lnTo>
                  <a:pt x="4339" y="2425878"/>
                </a:lnTo>
                <a:lnTo>
                  <a:pt x="0" y="2261102"/>
                </a:lnTo>
                <a:cubicBezTo>
                  <a:pt x="19668" y="1982816"/>
                  <a:pt x="172720" y="1718951"/>
                  <a:pt x="432506" y="1568961"/>
                </a:cubicBezTo>
                <a:lnTo>
                  <a:pt x="1117251" y="1173625"/>
                </a:lnTo>
                <a:close/>
              </a:path>
            </a:pathLst>
          </a:custGeom>
          <a:noFill/>
        </p:spPr>
        <p:txBody>
          <a:bodyPr wrap="square" bIns="720000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FE0EC2-D52C-F44E-9497-2A0AF7AE7E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918470" y="0"/>
            <a:ext cx="1813560" cy="1905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F2410E-84E0-374C-8FAC-AEE821559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046" y="2597561"/>
            <a:ext cx="4087660" cy="1655762"/>
          </a:xfrm>
        </p:spPr>
        <p:txBody>
          <a:bodyPr anchor="b"/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88EC5C-8752-C14B-B677-11084FDF84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70046" y="4378288"/>
            <a:ext cx="4087660" cy="124625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47F31B1-C864-3048-93AD-42DA13C02A7C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570046" y="1725191"/>
            <a:ext cx="4087660" cy="722489"/>
          </a:xfrm>
          <a:ln>
            <a:noFill/>
          </a:ln>
        </p:spPr>
        <p:txBody>
          <a:bodyPr anchor="b"/>
          <a:lstStyle>
            <a:lvl1pPr marL="0" indent="0">
              <a:buNone/>
              <a:defRPr sz="1000" u="sng" strike="noStrike" baseline="0">
                <a:ln>
                  <a:noFill/>
                </a:ln>
                <a:solidFill>
                  <a:schemeClr val="accent4"/>
                </a:solidFill>
                <a:uFill>
                  <a:solidFill>
                    <a:schemeClr val="accent4"/>
                  </a:solidFill>
                </a:u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11150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Title Only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533F19-EA07-3F40-9145-DAD007D364A3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D9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9B6020-74AA-314D-893B-7A2D34366F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6" name="Triangle 5">
            <a:extLst>
              <a:ext uri="{FF2B5EF4-FFF2-40B4-BE49-F238E27FC236}">
                <a16:creationId xmlns:a16="http://schemas.microsoft.com/office/drawing/2014/main" id="{0198D79D-EA99-DF43-8CEE-1E7144E4C82C}"/>
              </a:ext>
            </a:extLst>
          </p:cNvPr>
          <p:cNvSpPr/>
          <p:nvPr userDrawn="1"/>
        </p:nvSpPr>
        <p:spPr>
          <a:xfrm>
            <a:off x="4380405" y="5809129"/>
            <a:ext cx="3431190" cy="104887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2FD9EC-5409-944B-B116-FDBA799F3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621"/>
            <a:ext cx="10515600" cy="1325563"/>
          </a:xfrm>
        </p:spPr>
        <p:txBody>
          <a:bodyPr anchor="b"/>
          <a:lstStyle>
            <a:lvl1pPr algn="ctr">
              <a:defRPr sz="3000" b="1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C25C4F1-303F-FD47-B99D-D4E9077F40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03236" y="5207033"/>
            <a:ext cx="5585528" cy="452686"/>
          </a:xfrm>
        </p:spPr>
        <p:txBody>
          <a:bodyPr anchor="t"/>
          <a:lstStyle>
            <a:lvl1pPr marL="0" indent="0" algn="ctr">
              <a:buNone/>
              <a:defRPr sz="1000">
                <a:solidFill>
                  <a:srgbClr val="EA85A8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2C83D1D-1E5E-A342-AC29-F10482A39F3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72918" y="0"/>
            <a:ext cx="5846164" cy="3630601"/>
          </a:xfrm>
          <a:custGeom>
            <a:avLst/>
            <a:gdLst>
              <a:gd name="connsiteX0" fmla="*/ 3570 w 5846164"/>
              <a:gd name="connsiteY0" fmla="*/ 0 h 3630601"/>
              <a:gd name="connsiteX1" fmla="*/ 5844262 w 5846164"/>
              <a:gd name="connsiteY1" fmla="*/ 0 h 3630601"/>
              <a:gd name="connsiteX2" fmla="*/ 5844262 w 5846164"/>
              <a:gd name="connsiteY2" fmla="*/ 1495879 h 3630601"/>
              <a:gd name="connsiteX3" fmla="*/ 5846164 w 5846164"/>
              <a:gd name="connsiteY3" fmla="*/ 1568116 h 3630601"/>
              <a:gd name="connsiteX4" fmla="*/ 5490228 w 5846164"/>
              <a:gd name="connsiteY4" fmla="*/ 2137721 h 3630601"/>
              <a:gd name="connsiteX5" fmla="*/ 4870846 w 5846164"/>
              <a:gd name="connsiteY5" fmla="*/ 2495324 h 3630601"/>
              <a:gd name="connsiteX6" fmla="*/ 4870104 w 5846164"/>
              <a:gd name="connsiteY6" fmla="*/ 2494037 h 3630601"/>
              <a:gd name="connsiteX7" fmla="*/ 2915122 w 5846164"/>
              <a:gd name="connsiteY7" fmla="*/ 3630601 h 3630601"/>
              <a:gd name="connsiteX8" fmla="*/ 401986 w 5846164"/>
              <a:gd name="connsiteY8" fmla="*/ 2169538 h 3630601"/>
              <a:gd name="connsiteX9" fmla="*/ 411048 w 5846164"/>
              <a:gd name="connsiteY9" fmla="*/ 2169538 h 3630601"/>
              <a:gd name="connsiteX10" fmla="*/ 355936 w 5846164"/>
              <a:gd name="connsiteY10" fmla="*/ 2137716 h 3630601"/>
              <a:gd name="connsiteX11" fmla="*/ 0 w 5846164"/>
              <a:gd name="connsiteY11" fmla="*/ 1568110 h 3630601"/>
              <a:gd name="connsiteX12" fmla="*/ 3570 w 5846164"/>
              <a:gd name="connsiteY12" fmla="*/ 1432436 h 3630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46164" h="3630601">
                <a:moveTo>
                  <a:pt x="3570" y="0"/>
                </a:moveTo>
                <a:lnTo>
                  <a:pt x="5844262" y="0"/>
                </a:lnTo>
                <a:lnTo>
                  <a:pt x="5844262" y="1495879"/>
                </a:lnTo>
                <a:lnTo>
                  <a:pt x="5846164" y="1568116"/>
                </a:lnTo>
                <a:cubicBezTo>
                  <a:pt x="5829980" y="1797134"/>
                  <a:pt x="5704026" y="2014284"/>
                  <a:pt x="5490228" y="2137721"/>
                </a:cubicBezTo>
                <a:lnTo>
                  <a:pt x="4870846" y="2495324"/>
                </a:lnTo>
                <a:lnTo>
                  <a:pt x="4870104" y="2494037"/>
                </a:lnTo>
                <a:lnTo>
                  <a:pt x="2915122" y="3630601"/>
                </a:lnTo>
                <a:lnTo>
                  <a:pt x="401986" y="2169538"/>
                </a:lnTo>
                <a:lnTo>
                  <a:pt x="411048" y="2169538"/>
                </a:lnTo>
                <a:lnTo>
                  <a:pt x="355936" y="2137716"/>
                </a:lnTo>
                <a:cubicBezTo>
                  <a:pt x="142138" y="2014284"/>
                  <a:pt x="16185" y="1797134"/>
                  <a:pt x="0" y="1568110"/>
                </a:cubicBezTo>
                <a:lnTo>
                  <a:pt x="3570" y="143243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40000" anchor="ctr">
            <a:noAutofit/>
          </a:bodyPr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3941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Title Only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533F19-EA07-3F40-9145-DAD007D364A3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9B6020-74AA-314D-893B-7A2D34366F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7F02B28-10D2-F541-8745-50DCE5D83B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0560" y="1514811"/>
            <a:ext cx="3347120" cy="3816186"/>
          </a:xfrm>
          <a:custGeom>
            <a:avLst/>
            <a:gdLst>
              <a:gd name="connsiteX0" fmla="*/ 1150601 w 2307486"/>
              <a:gd name="connsiteY0" fmla="*/ 0 h 2630858"/>
              <a:gd name="connsiteX1" fmla="*/ 2128358 w 2307486"/>
              <a:gd name="connsiteY1" fmla="*/ 568438 h 2630858"/>
              <a:gd name="connsiteX2" fmla="*/ 2166998 w 2307486"/>
              <a:gd name="connsiteY2" fmla="*/ 590747 h 2630858"/>
              <a:gd name="connsiteX3" fmla="*/ 2307486 w 2307486"/>
              <a:gd name="connsiteY3" fmla="*/ 815572 h 2630858"/>
              <a:gd name="connsiteX4" fmla="*/ 2306735 w 2307486"/>
              <a:gd name="connsiteY4" fmla="*/ 844109 h 2630858"/>
              <a:gd name="connsiteX5" fmla="*/ 2306735 w 2307486"/>
              <a:gd name="connsiteY5" fmla="*/ 1788281 h 2630858"/>
              <a:gd name="connsiteX6" fmla="*/ 2307486 w 2307486"/>
              <a:gd name="connsiteY6" fmla="*/ 1816793 h 2630858"/>
              <a:gd name="connsiteX7" fmla="*/ 2166998 w 2307486"/>
              <a:gd name="connsiteY7" fmla="*/ 2041617 h 2630858"/>
              <a:gd name="connsiteX8" fmla="*/ 1922527 w 2307486"/>
              <a:gd name="connsiteY8" fmla="*/ 2182763 h 2630858"/>
              <a:gd name="connsiteX9" fmla="*/ 1922234 w 2307486"/>
              <a:gd name="connsiteY9" fmla="*/ 2182255 h 2630858"/>
              <a:gd name="connsiteX10" fmla="*/ 1150601 w 2307486"/>
              <a:gd name="connsiteY10" fmla="*/ 2630858 h 2630858"/>
              <a:gd name="connsiteX11" fmla="*/ 158664 w 2307486"/>
              <a:gd name="connsiteY11" fmla="*/ 2054175 h 2630858"/>
              <a:gd name="connsiteX12" fmla="*/ 162241 w 2307486"/>
              <a:gd name="connsiteY12" fmla="*/ 2054175 h 2630858"/>
              <a:gd name="connsiteX13" fmla="*/ 140488 w 2307486"/>
              <a:gd name="connsiteY13" fmla="*/ 2041615 h 2630858"/>
              <a:gd name="connsiteX14" fmla="*/ 0 w 2307486"/>
              <a:gd name="connsiteY14" fmla="*/ 1816791 h 2630858"/>
              <a:gd name="connsiteX15" fmla="*/ 1409 w 2307486"/>
              <a:gd name="connsiteY15" fmla="*/ 1763240 h 2630858"/>
              <a:gd name="connsiteX16" fmla="*/ 1409 w 2307486"/>
              <a:gd name="connsiteY16" fmla="*/ 864703 h 2630858"/>
              <a:gd name="connsiteX17" fmla="*/ 0 w 2307486"/>
              <a:gd name="connsiteY17" fmla="*/ 811180 h 2630858"/>
              <a:gd name="connsiteX18" fmla="*/ 140490 w 2307486"/>
              <a:gd name="connsiteY18" fmla="*/ 586355 h 2630858"/>
              <a:gd name="connsiteX19" fmla="*/ 362912 w 2307486"/>
              <a:gd name="connsiteY19" fmla="*/ 457939 h 263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307486" h="2630858">
                <a:moveTo>
                  <a:pt x="1150601" y="0"/>
                </a:moveTo>
                <a:lnTo>
                  <a:pt x="2128358" y="568438"/>
                </a:lnTo>
                <a:lnTo>
                  <a:pt x="2166998" y="590747"/>
                </a:lnTo>
                <a:cubicBezTo>
                  <a:pt x="2251384" y="639466"/>
                  <a:pt x="2301098" y="725177"/>
                  <a:pt x="2307486" y="815572"/>
                </a:cubicBezTo>
                <a:lnTo>
                  <a:pt x="2306735" y="844109"/>
                </a:lnTo>
                <a:lnTo>
                  <a:pt x="2306735" y="1788281"/>
                </a:lnTo>
                <a:lnTo>
                  <a:pt x="2307486" y="1816793"/>
                </a:lnTo>
                <a:cubicBezTo>
                  <a:pt x="2301098" y="1907187"/>
                  <a:pt x="2251384" y="1992896"/>
                  <a:pt x="2166998" y="2041617"/>
                </a:cubicBezTo>
                <a:lnTo>
                  <a:pt x="1922527" y="2182763"/>
                </a:lnTo>
                <a:lnTo>
                  <a:pt x="1922234" y="2182255"/>
                </a:lnTo>
                <a:lnTo>
                  <a:pt x="1150601" y="2630858"/>
                </a:lnTo>
                <a:lnTo>
                  <a:pt x="158664" y="2054175"/>
                </a:lnTo>
                <a:lnTo>
                  <a:pt x="162241" y="2054175"/>
                </a:lnTo>
                <a:lnTo>
                  <a:pt x="140488" y="2041615"/>
                </a:lnTo>
                <a:cubicBezTo>
                  <a:pt x="56102" y="1992896"/>
                  <a:pt x="6388" y="1907187"/>
                  <a:pt x="0" y="1816791"/>
                </a:cubicBezTo>
                <a:lnTo>
                  <a:pt x="1409" y="1763240"/>
                </a:lnTo>
                <a:lnTo>
                  <a:pt x="1409" y="864703"/>
                </a:lnTo>
                <a:lnTo>
                  <a:pt x="0" y="811180"/>
                </a:lnTo>
                <a:cubicBezTo>
                  <a:pt x="6388" y="720785"/>
                  <a:pt x="56104" y="635074"/>
                  <a:pt x="140490" y="586355"/>
                </a:cubicBezTo>
                <a:lnTo>
                  <a:pt x="362912" y="45793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40000" anchor="ctr">
            <a:noAutofit/>
          </a:bodyPr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2FD9EC-5409-944B-B116-FDBA799F3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1534" y="2996502"/>
            <a:ext cx="6752863" cy="2788648"/>
          </a:xfrm>
        </p:spPr>
        <p:txBody>
          <a:bodyPr lIns="54000" anchor="t"/>
          <a:lstStyle>
            <a:lvl1pPr algn="l">
              <a:defRPr sz="8400" b="1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ig heading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C25C4F1-303F-FD47-B99D-D4E9077F40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87520" y="2381437"/>
            <a:ext cx="5585528" cy="667965"/>
          </a:xfrm>
        </p:spPr>
        <p:txBody>
          <a:bodyPr anchor="b"/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24">
            <a:extLst>
              <a:ext uri="{FF2B5EF4-FFF2-40B4-BE49-F238E27FC236}">
                <a16:creationId xmlns:a16="http://schemas.microsoft.com/office/drawing/2014/main" id="{CEB8467A-E7DC-1D4C-AA5C-2FA572AE4B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1534" y="2381437"/>
            <a:ext cx="933957" cy="667965"/>
          </a:xfrm>
        </p:spPr>
        <p:txBody>
          <a:bodyPr anchor="b">
            <a:noAutofit/>
          </a:bodyPr>
          <a:lstStyle>
            <a:lvl1pPr algn="l">
              <a:defRPr sz="2800" b="1">
                <a:solidFill>
                  <a:srgbClr val="EA85A8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4605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Conten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EE4F89F-0489-A545-9E4D-A1701022E952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07BEA63B-FEEE-EA45-8DE9-FCBC4CB0B3B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281143" y="1484745"/>
            <a:ext cx="1879200" cy="2145600"/>
          </a:xfrm>
          <a:custGeom>
            <a:avLst/>
            <a:gdLst>
              <a:gd name="connsiteX0" fmla="*/ 937041 w 1879200"/>
              <a:gd name="connsiteY0" fmla="*/ 0 h 2145600"/>
              <a:gd name="connsiteX1" fmla="*/ 1733319 w 1879200"/>
              <a:gd name="connsiteY1" fmla="*/ 463591 h 2145600"/>
              <a:gd name="connsiteX2" fmla="*/ 1764788 w 1879200"/>
              <a:gd name="connsiteY2" fmla="*/ 481785 h 2145600"/>
              <a:gd name="connsiteX3" fmla="*/ 1879200 w 1879200"/>
              <a:gd name="connsiteY3" fmla="*/ 665141 h 2145600"/>
              <a:gd name="connsiteX4" fmla="*/ 1878589 w 1879200"/>
              <a:gd name="connsiteY4" fmla="*/ 688414 h 2145600"/>
              <a:gd name="connsiteX5" fmla="*/ 1878589 w 1879200"/>
              <a:gd name="connsiteY5" fmla="*/ 1458435 h 2145600"/>
              <a:gd name="connsiteX6" fmla="*/ 1879200 w 1879200"/>
              <a:gd name="connsiteY6" fmla="*/ 1481688 h 2145600"/>
              <a:gd name="connsiteX7" fmla="*/ 1764788 w 1879200"/>
              <a:gd name="connsiteY7" fmla="*/ 1665044 h 2145600"/>
              <a:gd name="connsiteX8" fmla="*/ 1565692 w 1879200"/>
              <a:gd name="connsiteY8" fmla="*/ 1780156 h 2145600"/>
              <a:gd name="connsiteX9" fmla="*/ 1565454 w 1879200"/>
              <a:gd name="connsiteY9" fmla="*/ 1779741 h 2145600"/>
              <a:gd name="connsiteX10" fmla="*/ 937041 w 1879200"/>
              <a:gd name="connsiteY10" fmla="*/ 2145600 h 2145600"/>
              <a:gd name="connsiteX11" fmla="*/ 129215 w 1879200"/>
              <a:gd name="connsiteY11" fmla="*/ 1675285 h 2145600"/>
              <a:gd name="connsiteX12" fmla="*/ 132128 w 1879200"/>
              <a:gd name="connsiteY12" fmla="*/ 1675285 h 2145600"/>
              <a:gd name="connsiteX13" fmla="*/ 114412 w 1879200"/>
              <a:gd name="connsiteY13" fmla="*/ 1665042 h 2145600"/>
              <a:gd name="connsiteX14" fmla="*/ 0 w 1879200"/>
              <a:gd name="connsiteY14" fmla="*/ 1481686 h 2145600"/>
              <a:gd name="connsiteX15" fmla="*/ 1147 w 1879200"/>
              <a:gd name="connsiteY15" fmla="*/ 1438013 h 2145600"/>
              <a:gd name="connsiteX16" fmla="*/ 1147 w 1879200"/>
              <a:gd name="connsiteY16" fmla="*/ 705210 h 2145600"/>
              <a:gd name="connsiteX17" fmla="*/ 0 w 1879200"/>
              <a:gd name="connsiteY17" fmla="*/ 661559 h 2145600"/>
              <a:gd name="connsiteX18" fmla="*/ 114414 w 1879200"/>
              <a:gd name="connsiteY18" fmla="*/ 478203 h 2145600"/>
              <a:gd name="connsiteX19" fmla="*/ 295553 w 1879200"/>
              <a:gd name="connsiteY19" fmla="*/ 373473 h 214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79200" h="2145600">
                <a:moveTo>
                  <a:pt x="937041" y="0"/>
                </a:moveTo>
                <a:lnTo>
                  <a:pt x="1733319" y="463591"/>
                </a:lnTo>
                <a:lnTo>
                  <a:pt x="1764788" y="481785"/>
                </a:lnTo>
                <a:cubicBezTo>
                  <a:pt x="1833511" y="521517"/>
                  <a:pt x="1873998" y="591420"/>
                  <a:pt x="1879200" y="665141"/>
                </a:cubicBezTo>
                <a:lnTo>
                  <a:pt x="1878589" y="688414"/>
                </a:lnTo>
                <a:lnTo>
                  <a:pt x="1878589" y="1458435"/>
                </a:lnTo>
                <a:lnTo>
                  <a:pt x="1879200" y="1481688"/>
                </a:lnTo>
                <a:cubicBezTo>
                  <a:pt x="1873998" y="1555409"/>
                  <a:pt x="1833511" y="1625309"/>
                  <a:pt x="1764788" y="1665044"/>
                </a:cubicBezTo>
                <a:lnTo>
                  <a:pt x="1565692" y="1780156"/>
                </a:lnTo>
                <a:lnTo>
                  <a:pt x="1565454" y="1779741"/>
                </a:lnTo>
                <a:lnTo>
                  <a:pt x="937041" y="2145600"/>
                </a:lnTo>
                <a:lnTo>
                  <a:pt x="129215" y="1675285"/>
                </a:lnTo>
                <a:lnTo>
                  <a:pt x="132128" y="1675285"/>
                </a:lnTo>
                <a:lnTo>
                  <a:pt x="114412" y="1665042"/>
                </a:lnTo>
                <a:cubicBezTo>
                  <a:pt x="45689" y="1625309"/>
                  <a:pt x="5202" y="1555409"/>
                  <a:pt x="0" y="1481686"/>
                </a:cubicBezTo>
                <a:lnTo>
                  <a:pt x="1147" y="1438013"/>
                </a:lnTo>
                <a:lnTo>
                  <a:pt x="1147" y="705210"/>
                </a:lnTo>
                <a:lnTo>
                  <a:pt x="0" y="661559"/>
                </a:lnTo>
                <a:cubicBezTo>
                  <a:pt x="5202" y="587838"/>
                  <a:pt x="45691" y="517935"/>
                  <a:pt x="114414" y="478203"/>
                </a:cubicBezTo>
                <a:lnTo>
                  <a:pt x="295553" y="37347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1080000">
            <a:noAutofit/>
          </a:bodyPr>
          <a:lstStyle>
            <a:lvl1pPr algn="ctr">
              <a:defRPr b="1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25F9C20F-416D-4546-94DD-0FD97701D32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912943" y="1804578"/>
            <a:ext cx="615600" cy="568800"/>
          </a:xfrm>
          <a:noFill/>
        </p:spPr>
        <p:txBody>
          <a:bodyPr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CAABAC5D-6860-DA42-8327-B600FED3985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57596" y="1484745"/>
            <a:ext cx="1879200" cy="2145600"/>
          </a:xfrm>
          <a:custGeom>
            <a:avLst/>
            <a:gdLst>
              <a:gd name="connsiteX0" fmla="*/ 937041 w 1879200"/>
              <a:gd name="connsiteY0" fmla="*/ 0 h 2145600"/>
              <a:gd name="connsiteX1" fmla="*/ 1733319 w 1879200"/>
              <a:gd name="connsiteY1" fmla="*/ 463591 h 2145600"/>
              <a:gd name="connsiteX2" fmla="*/ 1764788 w 1879200"/>
              <a:gd name="connsiteY2" fmla="*/ 481785 h 2145600"/>
              <a:gd name="connsiteX3" fmla="*/ 1879200 w 1879200"/>
              <a:gd name="connsiteY3" fmla="*/ 665141 h 2145600"/>
              <a:gd name="connsiteX4" fmla="*/ 1878589 w 1879200"/>
              <a:gd name="connsiteY4" fmla="*/ 688414 h 2145600"/>
              <a:gd name="connsiteX5" fmla="*/ 1878589 w 1879200"/>
              <a:gd name="connsiteY5" fmla="*/ 1458435 h 2145600"/>
              <a:gd name="connsiteX6" fmla="*/ 1879200 w 1879200"/>
              <a:gd name="connsiteY6" fmla="*/ 1481688 h 2145600"/>
              <a:gd name="connsiteX7" fmla="*/ 1764788 w 1879200"/>
              <a:gd name="connsiteY7" fmla="*/ 1665044 h 2145600"/>
              <a:gd name="connsiteX8" fmla="*/ 1565692 w 1879200"/>
              <a:gd name="connsiteY8" fmla="*/ 1780156 h 2145600"/>
              <a:gd name="connsiteX9" fmla="*/ 1565454 w 1879200"/>
              <a:gd name="connsiteY9" fmla="*/ 1779741 h 2145600"/>
              <a:gd name="connsiteX10" fmla="*/ 937041 w 1879200"/>
              <a:gd name="connsiteY10" fmla="*/ 2145600 h 2145600"/>
              <a:gd name="connsiteX11" fmla="*/ 129215 w 1879200"/>
              <a:gd name="connsiteY11" fmla="*/ 1675285 h 2145600"/>
              <a:gd name="connsiteX12" fmla="*/ 132128 w 1879200"/>
              <a:gd name="connsiteY12" fmla="*/ 1675285 h 2145600"/>
              <a:gd name="connsiteX13" fmla="*/ 114412 w 1879200"/>
              <a:gd name="connsiteY13" fmla="*/ 1665042 h 2145600"/>
              <a:gd name="connsiteX14" fmla="*/ 0 w 1879200"/>
              <a:gd name="connsiteY14" fmla="*/ 1481686 h 2145600"/>
              <a:gd name="connsiteX15" fmla="*/ 1147 w 1879200"/>
              <a:gd name="connsiteY15" fmla="*/ 1438013 h 2145600"/>
              <a:gd name="connsiteX16" fmla="*/ 1147 w 1879200"/>
              <a:gd name="connsiteY16" fmla="*/ 705210 h 2145600"/>
              <a:gd name="connsiteX17" fmla="*/ 0 w 1879200"/>
              <a:gd name="connsiteY17" fmla="*/ 661559 h 2145600"/>
              <a:gd name="connsiteX18" fmla="*/ 114414 w 1879200"/>
              <a:gd name="connsiteY18" fmla="*/ 478203 h 2145600"/>
              <a:gd name="connsiteX19" fmla="*/ 295553 w 1879200"/>
              <a:gd name="connsiteY19" fmla="*/ 373473 h 214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79200" h="2145600">
                <a:moveTo>
                  <a:pt x="937041" y="0"/>
                </a:moveTo>
                <a:lnTo>
                  <a:pt x="1733319" y="463591"/>
                </a:lnTo>
                <a:lnTo>
                  <a:pt x="1764788" y="481785"/>
                </a:lnTo>
                <a:cubicBezTo>
                  <a:pt x="1833511" y="521517"/>
                  <a:pt x="1873998" y="591420"/>
                  <a:pt x="1879200" y="665141"/>
                </a:cubicBezTo>
                <a:lnTo>
                  <a:pt x="1878589" y="688414"/>
                </a:lnTo>
                <a:lnTo>
                  <a:pt x="1878589" y="1458435"/>
                </a:lnTo>
                <a:lnTo>
                  <a:pt x="1879200" y="1481688"/>
                </a:lnTo>
                <a:cubicBezTo>
                  <a:pt x="1873998" y="1555409"/>
                  <a:pt x="1833511" y="1625309"/>
                  <a:pt x="1764788" y="1665044"/>
                </a:cubicBezTo>
                <a:lnTo>
                  <a:pt x="1565692" y="1780156"/>
                </a:lnTo>
                <a:lnTo>
                  <a:pt x="1565454" y="1779741"/>
                </a:lnTo>
                <a:lnTo>
                  <a:pt x="937041" y="2145600"/>
                </a:lnTo>
                <a:lnTo>
                  <a:pt x="129215" y="1675285"/>
                </a:lnTo>
                <a:lnTo>
                  <a:pt x="132128" y="1675285"/>
                </a:lnTo>
                <a:lnTo>
                  <a:pt x="114412" y="1665042"/>
                </a:lnTo>
                <a:cubicBezTo>
                  <a:pt x="45689" y="1625309"/>
                  <a:pt x="5202" y="1555409"/>
                  <a:pt x="0" y="1481686"/>
                </a:cubicBezTo>
                <a:lnTo>
                  <a:pt x="1147" y="1438013"/>
                </a:lnTo>
                <a:lnTo>
                  <a:pt x="1147" y="705210"/>
                </a:lnTo>
                <a:lnTo>
                  <a:pt x="0" y="661559"/>
                </a:lnTo>
                <a:cubicBezTo>
                  <a:pt x="5202" y="587838"/>
                  <a:pt x="45691" y="517935"/>
                  <a:pt x="114414" y="478203"/>
                </a:cubicBezTo>
                <a:lnTo>
                  <a:pt x="295553" y="37347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1080000">
            <a:noAutofit/>
          </a:bodyPr>
          <a:lstStyle>
            <a:lvl1pPr algn="ctr">
              <a:defRPr b="1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30" name="Picture Placeholder 17">
            <a:extLst>
              <a:ext uri="{FF2B5EF4-FFF2-40B4-BE49-F238E27FC236}">
                <a16:creationId xmlns:a16="http://schemas.microsoft.com/office/drawing/2014/main" id="{79A3363F-148A-B447-A760-AA1DB68F9B1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989396" y="1804578"/>
            <a:ext cx="615600" cy="568800"/>
          </a:xfrm>
          <a:noFill/>
        </p:spPr>
        <p:txBody>
          <a:bodyPr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37983C10-5350-F944-8270-09F4668D00E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29283" y="1484745"/>
            <a:ext cx="1879200" cy="2145600"/>
          </a:xfrm>
          <a:custGeom>
            <a:avLst/>
            <a:gdLst>
              <a:gd name="connsiteX0" fmla="*/ 937041 w 1879200"/>
              <a:gd name="connsiteY0" fmla="*/ 0 h 2145600"/>
              <a:gd name="connsiteX1" fmla="*/ 1733319 w 1879200"/>
              <a:gd name="connsiteY1" fmla="*/ 463591 h 2145600"/>
              <a:gd name="connsiteX2" fmla="*/ 1764788 w 1879200"/>
              <a:gd name="connsiteY2" fmla="*/ 481785 h 2145600"/>
              <a:gd name="connsiteX3" fmla="*/ 1879200 w 1879200"/>
              <a:gd name="connsiteY3" fmla="*/ 665141 h 2145600"/>
              <a:gd name="connsiteX4" fmla="*/ 1878589 w 1879200"/>
              <a:gd name="connsiteY4" fmla="*/ 688414 h 2145600"/>
              <a:gd name="connsiteX5" fmla="*/ 1878589 w 1879200"/>
              <a:gd name="connsiteY5" fmla="*/ 1458435 h 2145600"/>
              <a:gd name="connsiteX6" fmla="*/ 1879200 w 1879200"/>
              <a:gd name="connsiteY6" fmla="*/ 1481688 h 2145600"/>
              <a:gd name="connsiteX7" fmla="*/ 1764788 w 1879200"/>
              <a:gd name="connsiteY7" fmla="*/ 1665044 h 2145600"/>
              <a:gd name="connsiteX8" fmla="*/ 1565692 w 1879200"/>
              <a:gd name="connsiteY8" fmla="*/ 1780156 h 2145600"/>
              <a:gd name="connsiteX9" fmla="*/ 1565454 w 1879200"/>
              <a:gd name="connsiteY9" fmla="*/ 1779741 h 2145600"/>
              <a:gd name="connsiteX10" fmla="*/ 937041 w 1879200"/>
              <a:gd name="connsiteY10" fmla="*/ 2145600 h 2145600"/>
              <a:gd name="connsiteX11" fmla="*/ 129215 w 1879200"/>
              <a:gd name="connsiteY11" fmla="*/ 1675285 h 2145600"/>
              <a:gd name="connsiteX12" fmla="*/ 132128 w 1879200"/>
              <a:gd name="connsiteY12" fmla="*/ 1675285 h 2145600"/>
              <a:gd name="connsiteX13" fmla="*/ 114412 w 1879200"/>
              <a:gd name="connsiteY13" fmla="*/ 1665042 h 2145600"/>
              <a:gd name="connsiteX14" fmla="*/ 0 w 1879200"/>
              <a:gd name="connsiteY14" fmla="*/ 1481686 h 2145600"/>
              <a:gd name="connsiteX15" fmla="*/ 1147 w 1879200"/>
              <a:gd name="connsiteY15" fmla="*/ 1438013 h 2145600"/>
              <a:gd name="connsiteX16" fmla="*/ 1147 w 1879200"/>
              <a:gd name="connsiteY16" fmla="*/ 705210 h 2145600"/>
              <a:gd name="connsiteX17" fmla="*/ 0 w 1879200"/>
              <a:gd name="connsiteY17" fmla="*/ 661559 h 2145600"/>
              <a:gd name="connsiteX18" fmla="*/ 114414 w 1879200"/>
              <a:gd name="connsiteY18" fmla="*/ 478203 h 2145600"/>
              <a:gd name="connsiteX19" fmla="*/ 295553 w 1879200"/>
              <a:gd name="connsiteY19" fmla="*/ 373473 h 214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79200" h="2145600">
                <a:moveTo>
                  <a:pt x="937041" y="0"/>
                </a:moveTo>
                <a:lnTo>
                  <a:pt x="1733319" y="463591"/>
                </a:lnTo>
                <a:lnTo>
                  <a:pt x="1764788" y="481785"/>
                </a:lnTo>
                <a:cubicBezTo>
                  <a:pt x="1833511" y="521517"/>
                  <a:pt x="1873998" y="591420"/>
                  <a:pt x="1879200" y="665141"/>
                </a:cubicBezTo>
                <a:lnTo>
                  <a:pt x="1878589" y="688414"/>
                </a:lnTo>
                <a:lnTo>
                  <a:pt x="1878589" y="1458435"/>
                </a:lnTo>
                <a:lnTo>
                  <a:pt x="1879200" y="1481688"/>
                </a:lnTo>
                <a:cubicBezTo>
                  <a:pt x="1873998" y="1555409"/>
                  <a:pt x="1833511" y="1625309"/>
                  <a:pt x="1764788" y="1665044"/>
                </a:cubicBezTo>
                <a:lnTo>
                  <a:pt x="1565692" y="1780156"/>
                </a:lnTo>
                <a:lnTo>
                  <a:pt x="1565454" y="1779741"/>
                </a:lnTo>
                <a:lnTo>
                  <a:pt x="937041" y="2145600"/>
                </a:lnTo>
                <a:lnTo>
                  <a:pt x="129215" y="1675285"/>
                </a:lnTo>
                <a:lnTo>
                  <a:pt x="132128" y="1675285"/>
                </a:lnTo>
                <a:lnTo>
                  <a:pt x="114412" y="1665042"/>
                </a:lnTo>
                <a:cubicBezTo>
                  <a:pt x="45689" y="1625309"/>
                  <a:pt x="5202" y="1555409"/>
                  <a:pt x="0" y="1481686"/>
                </a:cubicBezTo>
                <a:lnTo>
                  <a:pt x="1147" y="1438013"/>
                </a:lnTo>
                <a:lnTo>
                  <a:pt x="1147" y="705210"/>
                </a:lnTo>
                <a:lnTo>
                  <a:pt x="0" y="661559"/>
                </a:lnTo>
                <a:cubicBezTo>
                  <a:pt x="5202" y="587838"/>
                  <a:pt x="45691" y="517935"/>
                  <a:pt x="114414" y="478203"/>
                </a:cubicBezTo>
                <a:lnTo>
                  <a:pt x="295553" y="37347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1080000">
            <a:noAutofit/>
          </a:bodyPr>
          <a:lstStyle>
            <a:lvl1pPr algn="ctr">
              <a:defRPr b="1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32" name="Picture Placeholder 17">
            <a:extLst>
              <a:ext uri="{FF2B5EF4-FFF2-40B4-BE49-F238E27FC236}">
                <a16:creationId xmlns:a16="http://schemas.microsoft.com/office/drawing/2014/main" id="{3362B82A-0AE1-BF4F-8DB7-3CA357FB1A8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061083" y="1804578"/>
            <a:ext cx="615600" cy="568800"/>
          </a:xfrm>
          <a:noFill/>
        </p:spPr>
        <p:txBody>
          <a:bodyPr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8DCCE736-80D9-F143-85CA-D7C663E05EE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14605" y="3227819"/>
            <a:ext cx="1879200" cy="2145600"/>
          </a:xfrm>
          <a:custGeom>
            <a:avLst/>
            <a:gdLst>
              <a:gd name="connsiteX0" fmla="*/ 937041 w 1879200"/>
              <a:gd name="connsiteY0" fmla="*/ 0 h 2145600"/>
              <a:gd name="connsiteX1" fmla="*/ 1733319 w 1879200"/>
              <a:gd name="connsiteY1" fmla="*/ 463591 h 2145600"/>
              <a:gd name="connsiteX2" fmla="*/ 1764788 w 1879200"/>
              <a:gd name="connsiteY2" fmla="*/ 481785 h 2145600"/>
              <a:gd name="connsiteX3" fmla="*/ 1879200 w 1879200"/>
              <a:gd name="connsiteY3" fmla="*/ 665141 h 2145600"/>
              <a:gd name="connsiteX4" fmla="*/ 1878589 w 1879200"/>
              <a:gd name="connsiteY4" fmla="*/ 688414 h 2145600"/>
              <a:gd name="connsiteX5" fmla="*/ 1878589 w 1879200"/>
              <a:gd name="connsiteY5" fmla="*/ 1458435 h 2145600"/>
              <a:gd name="connsiteX6" fmla="*/ 1879200 w 1879200"/>
              <a:gd name="connsiteY6" fmla="*/ 1481688 h 2145600"/>
              <a:gd name="connsiteX7" fmla="*/ 1764788 w 1879200"/>
              <a:gd name="connsiteY7" fmla="*/ 1665044 h 2145600"/>
              <a:gd name="connsiteX8" fmla="*/ 1565692 w 1879200"/>
              <a:gd name="connsiteY8" fmla="*/ 1780156 h 2145600"/>
              <a:gd name="connsiteX9" fmla="*/ 1565454 w 1879200"/>
              <a:gd name="connsiteY9" fmla="*/ 1779741 h 2145600"/>
              <a:gd name="connsiteX10" fmla="*/ 937041 w 1879200"/>
              <a:gd name="connsiteY10" fmla="*/ 2145600 h 2145600"/>
              <a:gd name="connsiteX11" fmla="*/ 129215 w 1879200"/>
              <a:gd name="connsiteY11" fmla="*/ 1675285 h 2145600"/>
              <a:gd name="connsiteX12" fmla="*/ 132128 w 1879200"/>
              <a:gd name="connsiteY12" fmla="*/ 1675285 h 2145600"/>
              <a:gd name="connsiteX13" fmla="*/ 114412 w 1879200"/>
              <a:gd name="connsiteY13" fmla="*/ 1665042 h 2145600"/>
              <a:gd name="connsiteX14" fmla="*/ 0 w 1879200"/>
              <a:gd name="connsiteY14" fmla="*/ 1481686 h 2145600"/>
              <a:gd name="connsiteX15" fmla="*/ 1147 w 1879200"/>
              <a:gd name="connsiteY15" fmla="*/ 1438013 h 2145600"/>
              <a:gd name="connsiteX16" fmla="*/ 1147 w 1879200"/>
              <a:gd name="connsiteY16" fmla="*/ 705210 h 2145600"/>
              <a:gd name="connsiteX17" fmla="*/ 0 w 1879200"/>
              <a:gd name="connsiteY17" fmla="*/ 661559 h 2145600"/>
              <a:gd name="connsiteX18" fmla="*/ 114414 w 1879200"/>
              <a:gd name="connsiteY18" fmla="*/ 478203 h 2145600"/>
              <a:gd name="connsiteX19" fmla="*/ 295553 w 1879200"/>
              <a:gd name="connsiteY19" fmla="*/ 373473 h 214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79200" h="2145600">
                <a:moveTo>
                  <a:pt x="937041" y="0"/>
                </a:moveTo>
                <a:lnTo>
                  <a:pt x="1733319" y="463591"/>
                </a:lnTo>
                <a:lnTo>
                  <a:pt x="1764788" y="481785"/>
                </a:lnTo>
                <a:cubicBezTo>
                  <a:pt x="1833511" y="521517"/>
                  <a:pt x="1873998" y="591420"/>
                  <a:pt x="1879200" y="665141"/>
                </a:cubicBezTo>
                <a:lnTo>
                  <a:pt x="1878589" y="688414"/>
                </a:lnTo>
                <a:lnTo>
                  <a:pt x="1878589" y="1458435"/>
                </a:lnTo>
                <a:lnTo>
                  <a:pt x="1879200" y="1481688"/>
                </a:lnTo>
                <a:cubicBezTo>
                  <a:pt x="1873998" y="1555409"/>
                  <a:pt x="1833511" y="1625309"/>
                  <a:pt x="1764788" y="1665044"/>
                </a:cubicBezTo>
                <a:lnTo>
                  <a:pt x="1565692" y="1780156"/>
                </a:lnTo>
                <a:lnTo>
                  <a:pt x="1565454" y="1779741"/>
                </a:lnTo>
                <a:lnTo>
                  <a:pt x="937041" y="2145600"/>
                </a:lnTo>
                <a:lnTo>
                  <a:pt x="129215" y="1675285"/>
                </a:lnTo>
                <a:lnTo>
                  <a:pt x="132128" y="1675285"/>
                </a:lnTo>
                <a:lnTo>
                  <a:pt x="114412" y="1665042"/>
                </a:lnTo>
                <a:cubicBezTo>
                  <a:pt x="45689" y="1625309"/>
                  <a:pt x="5202" y="1555409"/>
                  <a:pt x="0" y="1481686"/>
                </a:cubicBezTo>
                <a:lnTo>
                  <a:pt x="1147" y="1438013"/>
                </a:lnTo>
                <a:lnTo>
                  <a:pt x="1147" y="705210"/>
                </a:lnTo>
                <a:lnTo>
                  <a:pt x="0" y="661559"/>
                </a:lnTo>
                <a:cubicBezTo>
                  <a:pt x="5202" y="587838"/>
                  <a:pt x="45691" y="517935"/>
                  <a:pt x="114414" y="478203"/>
                </a:cubicBezTo>
                <a:lnTo>
                  <a:pt x="295553" y="37347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1080000">
            <a:noAutofit/>
          </a:bodyPr>
          <a:lstStyle>
            <a:lvl1pPr algn="ctr">
              <a:defRPr b="1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40" name="Picture Placeholder 17">
            <a:extLst>
              <a:ext uri="{FF2B5EF4-FFF2-40B4-BE49-F238E27FC236}">
                <a16:creationId xmlns:a16="http://schemas.microsoft.com/office/drawing/2014/main" id="{E55EF63C-3F00-FE44-A9C8-0EF7CD20A79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46405" y="3547652"/>
            <a:ext cx="615600" cy="568800"/>
          </a:xfrm>
          <a:noFill/>
        </p:spPr>
        <p:txBody>
          <a:bodyPr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07590978-5482-8A46-BF87-32F435053F8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391058" y="3227819"/>
            <a:ext cx="1879200" cy="2145600"/>
          </a:xfrm>
          <a:custGeom>
            <a:avLst/>
            <a:gdLst>
              <a:gd name="connsiteX0" fmla="*/ 937041 w 1879200"/>
              <a:gd name="connsiteY0" fmla="*/ 0 h 2145600"/>
              <a:gd name="connsiteX1" fmla="*/ 1733319 w 1879200"/>
              <a:gd name="connsiteY1" fmla="*/ 463591 h 2145600"/>
              <a:gd name="connsiteX2" fmla="*/ 1764788 w 1879200"/>
              <a:gd name="connsiteY2" fmla="*/ 481785 h 2145600"/>
              <a:gd name="connsiteX3" fmla="*/ 1879200 w 1879200"/>
              <a:gd name="connsiteY3" fmla="*/ 665141 h 2145600"/>
              <a:gd name="connsiteX4" fmla="*/ 1878589 w 1879200"/>
              <a:gd name="connsiteY4" fmla="*/ 688414 h 2145600"/>
              <a:gd name="connsiteX5" fmla="*/ 1878589 w 1879200"/>
              <a:gd name="connsiteY5" fmla="*/ 1458435 h 2145600"/>
              <a:gd name="connsiteX6" fmla="*/ 1879200 w 1879200"/>
              <a:gd name="connsiteY6" fmla="*/ 1481688 h 2145600"/>
              <a:gd name="connsiteX7" fmla="*/ 1764788 w 1879200"/>
              <a:gd name="connsiteY7" fmla="*/ 1665044 h 2145600"/>
              <a:gd name="connsiteX8" fmla="*/ 1565692 w 1879200"/>
              <a:gd name="connsiteY8" fmla="*/ 1780156 h 2145600"/>
              <a:gd name="connsiteX9" fmla="*/ 1565454 w 1879200"/>
              <a:gd name="connsiteY9" fmla="*/ 1779741 h 2145600"/>
              <a:gd name="connsiteX10" fmla="*/ 937041 w 1879200"/>
              <a:gd name="connsiteY10" fmla="*/ 2145600 h 2145600"/>
              <a:gd name="connsiteX11" fmla="*/ 129215 w 1879200"/>
              <a:gd name="connsiteY11" fmla="*/ 1675285 h 2145600"/>
              <a:gd name="connsiteX12" fmla="*/ 132128 w 1879200"/>
              <a:gd name="connsiteY12" fmla="*/ 1675285 h 2145600"/>
              <a:gd name="connsiteX13" fmla="*/ 114412 w 1879200"/>
              <a:gd name="connsiteY13" fmla="*/ 1665042 h 2145600"/>
              <a:gd name="connsiteX14" fmla="*/ 0 w 1879200"/>
              <a:gd name="connsiteY14" fmla="*/ 1481686 h 2145600"/>
              <a:gd name="connsiteX15" fmla="*/ 1147 w 1879200"/>
              <a:gd name="connsiteY15" fmla="*/ 1438013 h 2145600"/>
              <a:gd name="connsiteX16" fmla="*/ 1147 w 1879200"/>
              <a:gd name="connsiteY16" fmla="*/ 705210 h 2145600"/>
              <a:gd name="connsiteX17" fmla="*/ 0 w 1879200"/>
              <a:gd name="connsiteY17" fmla="*/ 661559 h 2145600"/>
              <a:gd name="connsiteX18" fmla="*/ 114414 w 1879200"/>
              <a:gd name="connsiteY18" fmla="*/ 478203 h 2145600"/>
              <a:gd name="connsiteX19" fmla="*/ 295553 w 1879200"/>
              <a:gd name="connsiteY19" fmla="*/ 373473 h 214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79200" h="2145600">
                <a:moveTo>
                  <a:pt x="937041" y="0"/>
                </a:moveTo>
                <a:lnTo>
                  <a:pt x="1733319" y="463591"/>
                </a:lnTo>
                <a:lnTo>
                  <a:pt x="1764788" y="481785"/>
                </a:lnTo>
                <a:cubicBezTo>
                  <a:pt x="1833511" y="521517"/>
                  <a:pt x="1873998" y="591420"/>
                  <a:pt x="1879200" y="665141"/>
                </a:cubicBezTo>
                <a:lnTo>
                  <a:pt x="1878589" y="688414"/>
                </a:lnTo>
                <a:lnTo>
                  <a:pt x="1878589" y="1458435"/>
                </a:lnTo>
                <a:lnTo>
                  <a:pt x="1879200" y="1481688"/>
                </a:lnTo>
                <a:cubicBezTo>
                  <a:pt x="1873998" y="1555409"/>
                  <a:pt x="1833511" y="1625309"/>
                  <a:pt x="1764788" y="1665044"/>
                </a:cubicBezTo>
                <a:lnTo>
                  <a:pt x="1565692" y="1780156"/>
                </a:lnTo>
                <a:lnTo>
                  <a:pt x="1565454" y="1779741"/>
                </a:lnTo>
                <a:lnTo>
                  <a:pt x="937041" y="2145600"/>
                </a:lnTo>
                <a:lnTo>
                  <a:pt x="129215" y="1675285"/>
                </a:lnTo>
                <a:lnTo>
                  <a:pt x="132128" y="1675285"/>
                </a:lnTo>
                <a:lnTo>
                  <a:pt x="114412" y="1665042"/>
                </a:lnTo>
                <a:cubicBezTo>
                  <a:pt x="45689" y="1625309"/>
                  <a:pt x="5202" y="1555409"/>
                  <a:pt x="0" y="1481686"/>
                </a:cubicBezTo>
                <a:lnTo>
                  <a:pt x="1147" y="1438013"/>
                </a:lnTo>
                <a:lnTo>
                  <a:pt x="1147" y="705210"/>
                </a:lnTo>
                <a:lnTo>
                  <a:pt x="0" y="661559"/>
                </a:lnTo>
                <a:cubicBezTo>
                  <a:pt x="5202" y="587838"/>
                  <a:pt x="45691" y="517935"/>
                  <a:pt x="114414" y="478203"/>
                </a:cubicBezTo>
                <a:lnTo>
                  <a:pt x="295553" y="37347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1080000">
            <a:noAutofit/>
          </a:bodyPr>
          <a:lstStyle>
            <a:lvl1pPr algn="ctr">
              <a:defRPr b="1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42" name="Picture Placeholder 17">
            <a:extLst>
              <a:ext uri="{FF2B5EF4-FFF2-40B4-BE49-F238E27FC236}">
                <a16:creationId xmlns:a16="http://schemas.microsoft.com/office/drawing/2014/main" id="{67A90A9E-19F1-474B-A2DE-21CF9CB9DF9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022858" y="3547652"/>
            <a:ext cx="615600" cy="568800"/>
          </a:xfrm>
          <a:noFill/>
        </p:spPr>
        <p:txBody>
          <a:bodyPr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34CA11-0A2B-F946-BB9C-DF8B1BC894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B3BB4D-CAC2-7641-ADCB-BF25F40B41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07080" y="1449345"/>
            <a:ext cx="3932237" cy="793376"/>
          </a:xfrm>
        </p:spPr>
        <p:txBody>
          <a:bodyPr anchor="b"/>
          <a:lstStyle>
            <a:lvl1pPr marL="0" indent="0">
              <a:buNone/>
              <a:defRPr sz="1000" u="sng">
                <a:solidFill>
                  <a:srgbClr val="EA85A8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riangle 6">
            <a:extLst>
              <a:ext uri="{FF2B5EF4-FFF2-40B4-BE49-F238E27FC236}">
                <a16:creationId xmlns:a16="http://schemas.microsoft.com/office/drawing/2014/main" id="{EB804070-139C-ED4C-9DF6-A6E2C0BDD13A}"/>
              </a:ext>
            </a:extLst>
          </p:cNvPr>
          <p:cNvSpPr/>
          <p:nvPr userDrawn="1"/>
        </p:nvSpPr>
        <p:spPr>
          <a:xfrm rot="5400000">
            <a:off x="-462757" y="2108006"/>
            <a:ext cx="1332994" cy="407479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B2BD38-5ECC-A14C-8C15-6A9B626454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7080" y="2912575"/>
            <a:ext cx="3932237" cy="2937163"/>
          </a:xfrm>
        </p:spPr>
        <p:txBody>
          <a:bodyPr/>
          <a:lstStyle>
            <a:lvl1pPr>
              <a:defRPr sz="25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964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Picture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4CE0044-ED4B-3A44-B542-58DF3322349E}"/>
              </a:ext>
            </a:extLst>
          </p:cNvPr>
          <p:cNvSpPr/>
          <p:nvPr userDrawn="1"/>
        </p:nvSpPr>
        <p:spPr>
          <a:xfrm>
            <a:off x="6098401" y="180000"/>
            <a:ext cx="3463199" cy="6498000"/>
          </a:xfrm>
          <a:prstGeom prst="rect">
            <a:avLst/>
          </a:prstGeom>
          <a:solidFill>
            <a:srgbClr val="0007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5BB65F-F5C9-394E-B6C3-34103E2CF4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6372000" cy="6858000"/>
          </a:xfrm>
        </p:spPr>
        <p:txBody>
          <a:bodyPr bIns="720000"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A5DDE8-AB14-4848-A2FD-1D043AF9AC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5731" y="1571693"/>
            <a:ext cx="2666357" cy="627288"/>
          </a:xfrm>
        </p:spPr>
        <p:txBody>
          <a:bodyPr>
            <a:spAutoFit/>
          </a:bodyPr>
          <a:lstStyle>
            <a:lvl1pPr>
              <a:spcAft>
                <a:spcPts val="400"/>
              </a:spcAft>
              <a:defRPr sz="1000">
                <a:solidFill>
                  <a:srgbClr val="EA85A8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C1F3215-A62E-5A46-8EBB-5188103C60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45731" y="2728140"/>
            <a:ext cx="2666357" cy="627288"/>
          </a:xfrm>
        </p:spPr>
        <p:txBody>
          <a:bodyPr>
            <a:spAutoFit/>
          </a:bodyPr>
          <a:lstStyle>
            <a:lvl1pPr>
              <a:spcAft>
                <a:spcPts val="400"/>
              </a:spcAft>
              <a:defRPr sz="1000">
                <a:solidFill>
                  <a:srgbClr val="EA85A8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16F1B14-C13D-034B-8170-8AD1A633B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45731" y="3884587"/>
            <a:ext cx="2666357" cy="627288"/>
          </a:xfrm>
        </p:spPr>
        <p:txBody>
          <a:bodyPr>
            <a:spAutoFit/>
          </a:bodyPr>
          <a:lstStyle>
            <a:lvl1pPr>
              <a:spcAft>
                <a:spcPts val="400"/>
              </a:spcAft>
              <a:defRPr sz="1000">
                <a:solidFill>
                  <a:srgbClr val="EA85A8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99FA056D-4C49-2A45-8C67-2777D2082246}"/>
              </a:ext>
            </a:extLst>
          </p:cNvPr>
          <p:cNvSpPr/>
          <p:nvPr userDrawn="1"/>
        </p:nvSpPr>
        <p:spPr>
          <a:xfrm rot="5400000">
            <a:off x="9384589" y="3353266"/>
            <a:ext cx="495504" cy="15146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3417E03-DF74-254F-BAE4-0F5FE5CAE1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67709" y="1633538"/>
            <a:ext cx="1919492" cy="3590925"/>
          </a:xfrm>
        </p:spPr>
        <p:txBody>
          <a:bodyPr anchor="ctr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95C200A-25B1-9543-A51E-B4FC8F8AF2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735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Picture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4CE0044-ED4B-3A44-B542-58DF3322349E}"/>
              </a:ext>
            </a:extLst>
          </p:cNvPr>
          <p:cNvSpPr/>
          <p:nvPr userDrawn="1"/>
        </p:nvSpPr>
        <p:spPr>
          <a:xfrm>
            <a:off x="6098401" y="180000"/>
            <a:ext cx="3463199" cy="649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riangle 22">
            <a:extLst>
              <a:ext uri="{FF2B5EF4-FFF2-40B4-BE49-F238E27FC236}">
                <a16:creationId xmlns:a16="http://schemas.microsoft.com/office/drawing/2014/main" id="{08A2A174-530E-6B48-B547-4BAB4F6AD7E6}"/>
              </a:ext>
            </a:extLst>
          </p:cNvPr>
          <p:cNvSpPr/>
          <p:nvPr userDrawn="1"/>
        </p:nvSpPr>
        <p:spPr>
          <a:xfrm rot="5400000">
            <a:off x="9384589" y="3353266"/>
            <a:ext cx="495504" cy="151469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DE5BA83-978F-8744-B034-E69740D71422}"/>
              </a:ext>
            </a:extLst>
          </p:cNvPr>
          <p:cNvSpPr/>
          <p:nvPr userDrawn="1"/>
        </p:nvSpPr>
        <p:spPr>
          <a:xfrm>
            <a:off x="180000" y="180000"/>
            <a:ext cx="5914800" cy="6498000"/>
          </a:xfrm>
          <a:prstGeom prst="rect">
            <a:avLst/>
          </a:prstGeom>
          <a:solidFill>
            <a:srgbClr val="0007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5BB65F-F5C9-394E-B6C3-34103E2CF4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3049200" cy="6858000"/>
          </a:xfrm>
        </p:spPr>
        <p:txBody>
          <a:bodyPr bIns="720000" anchor="ctr"/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49EC0BE-808F-1D45-9BBB-39D656385D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70648" y="1571693"/>
            <a:ext cx="2666357" cy="627288"/>
          </a:xfrm>
        </p:spPr>
        <p:txBody>
          <a:bodyPr>
            <a:spAutoFit/>
          </a:bodyPr>
          <a:lstStyle>
            <a:lvl1pPr>
              <a:spcAft>
                <a:spcPts val="400"/>
              </a:spcAft>
              <a:defRPr sz="1000">
                <a:solidFill>
                  <a:srgbClr val="EA85A8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ADACC3C-852E-1B48-8B62-C795A37311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70648" y="2728140"/>
            <a:ext cx="2666357" cy="627288"/>
          </a:xfrm>
        </p:spPr>
        <p:txBody>
          <a:bodyPr>
            <a:spAutoFit/>
          </a:bodyPr>
          <a:lstStyle>
            <a:lvl1pPr>
              <a:spcAft>
                <a:spcPts val="400"/>
              </a:spcAft>
              <a:defRPr sz="1000">
                <a:solidFill>
                  <a:srgbClr val="EA85A8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85BFD62-F152-5E47-8895-9E38E299DB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70648" y="3884587"/>
            <a:ext cx="2666357" cy="627288"/>
          </a:xfrm>
        </p:spPr>
        <p:txBody>
          <a:bodyPr>
            <a:spAutoFit/>
          </a:bodyPr>
          <a:lstStyle>
            <a:lvl1pPr>
              <a:spcAft>
                <a:spcPts val="400"/>
              </a:spcAft>
              <a:defRPr sz="1000">
                <a:solidFill>
                  <a:srgbClr val="EA85A8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3417E03-DF74-254F-BAE4-0F5FE5CAE1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71934" y="1682750"/>
            <a:ext cx="2163763" cy="3590925"/>
          </a:xfrm>
        </p:spPr>
        <p:txBody>
          <a:bodyPr anchor="ctr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FC0B8068-0A4B-4840-9867-283F0DB954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75874" y="1682750"/>
            <a:ext cx="1931062" cy="3590925"/>
          </a:xfrm>
        </p:spPr>
        <p:txBody>
          <a:bodyPr anchor="ctr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EF975CB6-53AC-F646-90B8-3C19B0AC1E1B}"/>
              </a:ext>
            </a:extLst>
          </p:cNvPr>
          <p:cNvSpPr/>
          <p:nvPr userDrawn="1"/>
        </p:nvSpPr>
        <p:spPr>
          <a:xfrm rot="5400000">
            <a:off x="5908696" y="3353267"/>
            <a:ext cx="495504" cy="15146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0FBC99-A774-4344-9E0E-F4F0E42782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367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Picture with Caption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5BB65F-F5C9-394E-B6C3-34103E2CF4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80000" y="180000"/>
            <a:ext cx="11833200" cy="6498000"/>
          </a:xfrm>
        </p:spPr>
        <p:txBody>
          <a:bodyPr bIns="720000"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8A143545-C44E-604F-B489-0E1F89D4E833}"/>
              </a:ext>
            </a:extLst>
          </p:cNvPr>
          <p:cNvSpPr/>
          <p:nvPr userDrawn="1"/>
        </p:nvSpPr>
        <p:spPr>
          <a:xfrm rot="5400000">
            <a:off x="-416841" y="2145537"/>
            <a:ext cx="1200730" cy="36704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FE4C6BF-EB4F-EA41-B364-60121654F4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0000" y="180000"/>
            <a:ext cx="3830400" cy="6498000"/>
          </a:xfrm>
          <a:solidFill>
            <a:schemeClr val="accent3">
              <a:alpha val="75000"/>
            </a:schemeClr>
          </a:solidFill>
        </p:spPr>
        <p:txBody>
          <a:bodyPr lIns="630000" tIns="2880000" rIns="540000"/>
          <a:lstStyle>
            <a:lvl1pPr>
              <a:lnSpc>
                <a:spcPct val="110000"/>
              </a:lnSpc>
              <a:defRPr sz="1800">
                <a:solidFill>
                  <a:schemeClr val="accent2"/>
                </a:solidFill>
              </a:defRPr>
            </a:lvl1pPr>
            <a:lvl2pPr>
              <a:defRPr sz="1000">
                <a:solidFill>
                  <a:srgbClr val="EA85A8"/>
                </a:solidFill>
              </a:defRPr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3586FBC-4969-C54C-9116-565F74959A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29147" y="1792800"/>
            <a:ext cx="1371600" cy="921600"/>
          </a:xfrm>
        </p:spPr>
        <p:txBody>
          <a:bodyPr bIns="540000" anchor="ctr"/>
          <a:lstStyle>
            <a:lvl1pPr algn="ctr"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B65161-0CDC-5D48-BF0D-22BDF1A8C5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363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Picture with Caption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E9D559F-7D89-3448-8327-80B240F7374E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C0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33C9FD-2BD1-3642-9C44-27764FE797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BAE4A8F-2F10-7140-81A4-CF2AF17CFB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06834" y="1680298"/>
            <a:ext cx="5512906" cy="667965"/>
          </a:xfrm>
        </p:spPr>
        <p:txBody>
          <a:bodyPr anchor="b"/>
          <a:lstStyle>
            <a:lvl1pPr marL="0" indent="0" algn="l">
              <a:buNone/>
              <a:defRPr sz="280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24">
            <a:extLst>
              <a:ext uri="{FF2B5EF4-FFF2-40B4-BE49-F238E27FC236}">
                <a16:creationId xmlns:a16="http://schemas.microsoft.com/office/drawing/2014/main" id="{2438EDA2-BB44-7045-9D62-1199D8FD6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136" y="1680298"/>
            <a:ext cx="933957" cy="667965"/>
          </a:xfrm>
        </p:spPr>
        <p:txBody>
          <a:bodyPr anchor="b">
            <a:noAutofit/>
          </a:bodyPr>
          <a:lstStyle>
            <a:lvl1pPr algn="l">
              <a:defRPr sz="2800" b="1">
                <a:solidFill>
                  <a:srgbClr val="80D5F2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01</a:t>
            </a:r>
            <a:endParaRPr lang="en-US" dirty="0"/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BC791024-5C24-DD4F-8776-FA5744FF96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4135" y="2314712"/>
            <a:ext cx="6015605" cy="2219705"/>
          </a:xfrm>
        </p:spPr>
        <p:txBody>
          <a:bodyPr lIns="0" tIns="0" anchor="t">
            <a:noAutofit/>
          </a:bodyPr>
          <a:lstStyle>
            <a:lvl1pPr algn="l">
              <a:defRPr sz="17800" spc="-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0%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ED7887-DD0D-7A4E-A31E-6874B502E0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03775" y="4655103"/>
            <a:ext cx="6015965" cy="137718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4D9FE7D7-4B5A-2D42-BF41-C9CBA128FA8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0560" y="1514811"/>
            <a:ext cx="3347120" cy="3816186"/>
          </a:xfrm>
          <a:custGeom>
            <a:avLst/>
            <a:gdLst>
              <a:gd name="connsiteX0" fmla="*/ 1150601 w 2307486"/>
              <a:gd name="connsiteY0" fmla="*/ 0 h 2630858"/>
              <a:gd name="connsiteX1" fmla="*/ 2128358 w 2307486"/>
              <a:gd name="connsiteY1" fmla="*/ 568438 h 2630858"/>
              <a:gd name="connsiteX2" fmla="*/ 2166998 w 2307486"/>
              <a:gd name="connsiteY2" fmla="*/ 590747 h 2630858"/>
              <a:gd name="connsiteX3" fmla="*/ 2307486 w 2307486"/>
              <a:gd name="connsiteY3" fmla="*/ 815572 h 2630858"/>
              <a:gd name="connsiteX4" fmla="*/ 2306735 w 2307486"/>
              <a:gd name="connsiteY4" fmla="*/ 844109 h 2630858"/>
              <a:gd name="connsiteX5" fmla="*/ 2306735 w 2307486"/>
              <a:gd name="connsiteY5" fmla="*/ 1788281 h 2630858"/>
              <a:gd name="connsiteX6" fmla="*/ 2307486 w 2307486"/>
              <a:gd name="connsiteY6" fmla="*/ 1816793 h 2630858"/>
              <a:gd name="connsiteX7" fmla="*/ 2166998 w 2307486"/>
              <a:gd name="connsiteY7" fmla="*/ 2041617 h 2630858"/>
              <a:gd name="connsiteX8" fmla="*/ 1922527 w 2307486"/>
              <a:gd name="connsiteY8" fmla="*/ 2182763 h 2630858"/>
              <a:gd name="connsiteX9" fmla="*/ 1922234 w 2307486"/>
              <a:gd name="connsiteY9" fmla="*/ 2182255 h 2630858"/>
              <a:gd name="connsiteX10" fmla="*/ 1150601 w 2307486"/>
              <a:gd name="connsiteY10" fmla="*/ 2630858 h 2630858"/>
              <a:gd name="connsiteX11" fmla="*/ 158664 w 2307486"/>
              <a:gd name="connsiteY11" fmla="*/ 2054175 h 2630858"/>
              <a:gd name="connsiteX12" fmla="*/ 162241 w 2307486"/>
              <a:gd name="connsiteY12" fmla="*/ 2054175 h 2630858"/>
              <a:gd name="connsiteX13" fmla="*/ 140488 w 2307486"/>
              <a:gd name="connsiteY13" fmla="*/ 2041615 h 2630858"/>
              <a:gd name="connsiteX14" fmla="*/ 0 w 2307486"/>
              <a:gd name="connsiteY14" fmla="*/ 1816791 h 2630858"/>
              <a:gd name="connsiteX15" fmla="*/ 1409 w 2307486"/>
              <a:gd name="connsiteY15" fmla="*/ 1763240 h 2630858"/>
              <a:gd name="connsiteX16" fmla="*/ 1409 w 2307486"/>
              <a:gd name="connsiteY16" fmla="*/ 864703 h 2630858"/>
              <a:gd name="connsiteX17" fmla="*/ 0 w 2307486"/>
              <a:gd name="connsiteY17" fmla="*/ 811180 h 2630858"/>
              <a:gd name="connsiteX18" fmla="*/ 140490 w 2307486"/>
              <a:gd name="connsiteY18" fmla="*/ 586355 h 2630858"/>
              <a:gd name="connsiteX19" fmla="*/ 362912 w 2307486"/>
              <a:gd name="connsiteY19" fmla="*/ 457939 h 263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307486" h="2630858">
                <a:moveTo>
                  <a:pt x="1150601" y="0"/>
                </a:moveTo>
                <a:lnTo>
                  <a:pt x="2128358" y="568438"/>
                </a:lnTo>
                <a:lnTo>
                  <a:pt x="2166998" y="590747"/>
                </a:lnTo>
                <a:cubicBezTo>
                  <a:pt x="2251384" y="639466"/>
                  <a:pt x="2301098" y="725177"/>
                  <a:pt x="2307486" y="815572"/>
                </a:cubicBezTo>
                <a:lnTo>
                  <a:pt x="2306735" y="844109"/>
                </a:lnTo>
                <a:lnTo>
                  <a:pt x="2306735" y="1788281"/>
                </a:lnTo>
                <a:lnTo>
                  <a:pt x="2307486" y="1816793"/>
                </a:lnTo>
                <a:cubicBezTo>
                  <a:pt x="2301098" y="1907187"/>
                  <a:pt x="2251384" y="1992896"/>
                  <a:pt x="2166998" y="2041617"/>
                </a:cubicBezTo>
                <a:lnTo>
                  <a:pt x="1922527" y="2182763"/>
                </a:lnTo>
                <a:lnTo>
                  <a:pt x="1922234" y="2182255"/>
                </a:lnTo>
                <a:lnTo>
                  <a:pt x="1150601" y="2630858"/>
                </a:lnTo>
                <a:lnTo>
                  <a:pt x="158664" y="2054175"/>
                </a:lnTo>
                <a:lnTo>
                  <a:pt x="162241" y="2054175"/>
                </a:lnTo>
                <a:lnTo>
                  <a:pt x="140488" y="2041615"/>
                </a:lnTo>
                <a:cubicBezTo>
                  <a:pt x="56102" y="1992896"/>
                  <a:pt x="6388" y="1907187"/>
                  <a:pt x="0" y="1816791"/>
                </a:cubicBezTo>
                <a:lnTo>
                  <a:pt x="1409" y="1763240"/>
                </a:lnTo>
                <a:lnTo>
                  <a:pt x="1409" y="864703"/>
                </a:lnTo>
                <a:lnTo>
                  <a:pt x="0" y="811180"/>
                </a:lnTo>
                <a:cubicBezTo>
                  <a:pt x="6388" y="720785"/>
                  <a:pt x="56104" y="635074"/>
                  <a:pt x="140490" y="586355"/>
                </a:cubicBezTo>
                <a:lnTo>
                  <a:pt x="362912" y="45793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540000" anchor="ctr">
            <a:noAutofit/>
          </a:bodyPr>
          <a:lstStyle>
            <a:lvl1pPr algn="ctr"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9350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Support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CD2516B-514A-A143-B3DF-6B39C7CDD99B}"/>
              </a:ext>
            </a:extLst>
          </p:cNvPr>
          <p:cNvSpPr/>
          <p:nvPr userDrawn="1"/>
        </p:nvSpPr>
        <p:spPr>
          <a:xfrm>
            <a:off x="180000" y="180000"/>
            <a:ext cx="11833200" cy="436636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A4F18D9-3D7D-3945-886A-29EA931DA4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8" name="Triangle 7">
            <a:extLst>
              <a:ext uri="{FF2B5EF4-FFF2-40B4-BE49-F238E27FC236}">
                <a16:creationId xmlns:a16="http://schemas.microsoft.com/office/drawing/2014/main" id="{45D011FF-133F-C64B-82C2-986908159AD7}"/>
              </a:ext>
            </a:extLst>
          </p:cNvPr>
          <p:cNvSpPr/>
          <p:nvPr userDrawn="1"/>
        </p:nvSpPr>
        <p:spPr>
          <a:xfrm>
            <a:off x="5355560" y="6405314"/>
            <a:ext cx="1480881" cy="45268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F588E03-5666-474B-8186-259120C29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3941"/>
            <a:ext cx="10515600" cy="1073932"/>
          </a:xfrm>
        </p:spPr>
        <p:txBody>
          <a:bodyPr anchor="b"/>
          <a:lstStyle>
            <a:lvl1pPr algn="ctr"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A9785B4-97D1-1445-8377-506E54D3D6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06418" y="2692608"/>
            <a:ext cx="2871787" cy="1511924"/>
          </a:xfrm>
        </p:spPr>
        <p:txBody>
          <a:bodyPr/>
          <a:lstStyle>
            <a:lvl1pPr algn="ctr">
              <a:defRPr sz="2500" b="1">
                <a:solidFill>
                  <a:schemeClr val="accent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Section heading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33ABC78B-AE05-DC44-B066-C242637CE92E}"/>
              </a:ext>
            </a:extLst>
          </p:cNvPr>
          <p:cNvSpPr/>
          <p:nvPr userDrawn="1"/>
        </p:nvSpPr>
        <p:spPr>
          <a:xfrm>
            <a:off x="2735574" y="4376194"/>
            <a:ext cx="613474" cy="18753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AA2B763-3077-2D49-B63E-75E712D384B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302497" y="4973638"/>
            <a:ext cx="1479628" cy="1114425"/>
          </a:xfrm>
        </p:spPr>
        <p:txBody>
          <a:bodyPr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79094BC-7962-174B-81CA-31E5EF91D4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60107" y="2692608"/>
            <a:ext cx="2871787" cy="1511924"/>
          </a:xfrm>
        </p:spPr>
        <p:txBody>
          <a:bodyPr/>
          <a:lstStyle>
            <a:lvl1pPr algn="ctr">
              <a:defRPr sz="2500" b="1">
                <a:solidFill>
                  <a:schemeClr val="accent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Section heading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7" name="Triangle 16">
            <a:extLst>
              <a:ext uri="{FF2B5EF4-FFF2-40B4-BE49-F238E27FC236}">
                <a16:creationId xmlns:a16="http://schemas.microsoft.com/office/drawing/2014/main" id="{18F33BFA-B914-154B-BB00-DFD8A0F3761E}"/>
              </a:ext>
            </a:extLst>
          </p:cNvPr>
          <p:cNvSpPr/>
          <p:nvPr userDrawn="1"/>
        </p:nvSpPr>
        <p:spPr>
          <a:xfrm>
            <a:off x="5789263" y="4376194"/>
            <a:ext cx="613474" cy="18753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B6F45527-7523-AF4C-B0EB-D69899AA43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56186" y="4973638"/>
            <a:ext cx="1479628" cy="1114425"/>
          </a:xfrm>
        </p:spPr>
        <p:txBody>
          <a:bodyPr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211092F-40EA-8E40-9C03-2F90FF6B16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09912" y="2692608"/>
            <a:ext cx="2871787" cy="1511924"/>
          </a:xfrm>
        </p:spPr>
        <p:txBody>
          <a:bodyPr/>
          <a:lstStyle>
            <a:lvl1pPr algn="ctr">
              <a:defRPr sz="2500" b="1">
                <a:solidFill>
                  <a:schemeClr val="accent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Section heading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5F7E1D42-492C-854A-A228-F9ACC7729386}"/>
              </a:ext>
            </a:extLst>
          </p:cNvPr>
          <p:cNvSpPr/>
          <p:nvPr userDrawn="1"/>
        </p:nvSpPr>
        <p:spPr>
          <a:xfrm>
            <a:off x="8839068" y="4376194"/>
            <a:ext cx="613474" cy="18753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DF379EF5-267D-1A41-9307-56701D801E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405991" y="4973638"/>
            <a:ext cx="1479628" cy="1114425"/>
          </a:xfrm>
        </p:spPr>
        <p:txBody>
          <a:bodyPr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4406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End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533F19-EA07-3F40-9145-DAD007D364A3}"/>
              </a:ext>
            </a:extLst>
          </p:cNvPr>
          <p:cNvSpPr/>
          <p:nvPr userDrawn="1"/>
        </p:nvSpPr>
        <p:spPr>
          <a:xfrm>
            <a:off x="180000" y="1650830"/>
            <a:ext cx="11833200" cy="50271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45D011FF-133F-C64B-82C2-986908159AD7}"/>
              </a:ext>
            </a:extLst>
          </p:cNvPr>
          <p:cNvSpPr/>
          <p:nvPr userDrawn="1"/>
        </p:nvSpPr>
        <p:spPr>
          <a:xfrm>
            <a:off x="5355560" y="6405314"/>
            <a:ext cx="1480881" cy="45268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F588E03-5666-474B-8186-259120C29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525"/>
            <a:ext cx="10515600" cy="1325563"/>
          </a:xfrm>
        </p:spPr>
        <p:txBody>
          <a:bodyPr anchor="b"/>
          <a:lstStyle>
            <a:lvl1pPr algn="ctr">
              <a:defRPr sz="3000" b="1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297425B-DE6A-1A4E-995B-56E59F6D913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03236" y="5121115"/>
            <a:ext cx="5585528" cy="452686"/>
          </a:xfrm>
        </p:spPr>
        <p:txBody>
          <a:bodyPr anchor="t"/>
          <a:lstStyle>
            <a:lvl1pPr marL="0" indent="0" algn="ctr">
              <a:buNone/>
              <a:defRPr sz="1800">
                <a:solidFill>
                  <a:srgbClr val="9D9D9C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www.tsa-voice.org.uk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F5F4F2-6783-754B-9614-DA819CE3CD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437257" y="1049411"/>
            <a:ext cx="1317486" cy="1589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0991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End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533F19-EA07-3F40-9145-DAD007D364A3}"/>
              </a:ext>
            </a:extLst>
          </p:cNvPr>
          <p:cNvSpPr/>
          <p:nvPr userDrawn="1"/>
        </p:nvSpPr>
        <p:spPr>
          <a:xfrm>
            <a:off x="180000" y="180000"/>
            <a:ext cx="11833200" cy="24965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riangle 5">
            <a:extLst>
              <a:ext uri="{FF2B5EF4-FFF2-40B4-BE49-F238E27FC236}">
                <a16:creationId xmlns:a16="http://schemas.microsoft.com/office/drawing/2014/main" id="{0198D79D-EA99-DF43-8CEE-1E7144E4C82C}"/>
              </a:ext>
            </a:extLst>
          </p:cNvPr>
          <p:cNvSpPr/>
          <p:nvPr userDrawn="1"/>
        </p:nvSpPr>
        <p:spPr>
          <a:xfrm rot="10800000">
            <a:off x="5528578" y="0"/>
            <a:ext cx="1134844" cy="34690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C5E8AA6-175F-6641-9F41-76ECAD6F63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437257" y="2007352"/>
            <a:ext cx="1317486" cy="15894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2FD9EC-5409-944B-B116-FDBA799F3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844085"/>
            <a:ext cx="10515600" cy="1325563"/>
          </a:xfrm>
        </p:spPr>
        <p:txBody>
          <a:bodyPr anchor="b"/>
          <a:lstStyle>
            <a:lvl1pPr algn="ctr">
              <a:defRPr sz="7500" b="1" spc="-200" baseline="0"/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C25C4F1-303F-FD47-B99D-D4E9077F407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03236" y="5268876"/>
            <a:ext cx="5585528" cy="722489"/>
          </a:xfrm>
        </p:spPr>
        <p:txBody>
          <a:bodyPr anchor="t"/>
          <a:lstStyle>
            <a:lvl1pPr marL="0" indent="0" algn="ctr">
              <a:buNone/>
              <a:defRPr sz="1800">
                <a:solidFill>
                  <a:srgbClr val="9D9D9C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www.tsa-voice.org.u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558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Title Slid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7F2869D-BF56-2D46-822C-C4148C6C7690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62114BE7-E80F-9447-A32F-F063AABB71F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80041" y="1668523"/>
            <a:ext cx="5733159" cy="5009477"/>
          </a:xfrm>
          <a:custGeom>
            <a:avLst/>
            <a:gdLst>
              <a:gd name="connsiteX0" fmla="*/ 3135975 w 5733159"/>
              <a:gd name="connsiteY0" fmla="*/ 0 h 5009477"/>
              <a:gd name="connsiteX1" fmla="*/ 3542736 w 5733159"/>
              <a:gd name="connsiteY1" fmla="*/ 236479 h 5009477"/>
              <a:gd name="connsiteX2" fmla="*/ 3948965 w 5733159"/>
              <a:gd name="connsiteY2" fmla="*/ 310 h 5009477"/>
              <a:gd name="connsiteX3" fmla="*/ 5733158 w 5733159"/>
              <a:gd name="connsiteY3" fmla="*/ 1037586 h 5009477"/>
              <a:gd name="connsiteX4" fmla="*/ 5733159 w 5733159"/>
              <a:gd name="connsiteY4" fmla="*/ 5009477 h 5009477"/>
              <a:gd name="connsiteX5" fmla="*/ 4338 w 5733159"/>
              <a:gd name="connsiteY5" fmla="*/ 5009477 h 5009477"/>
              <a:gd name="connsiteX6" fmla="*/ 4339 w 5733159"/>
              <a:gd name="connsiteY6" fmla="*/ 2425878 h 5009477"/>
              <a:gd name="connsiteX7" fmla="*/ 0 w 5733159"/>
              <a:gd name="connsiteY7" fmla="*/ 2261102 h 5009477"/>
              <a:gd name="connsiteX8" fmla="*/ 432506 w 5733159"/>
              <a:gd name="connsiteY8" fmla="*/ 1568961 h 5009477"/>
              <a:gd name="connsiteX9" fmla="*/ 1117251 w 5733159"/>
              <a:gd name="connsiteY9" fmla="*/ 1173625 h 5009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33159" h="5009477">
                <a:moveTo>
                  <a:pt x="3135975" y="0"/>
                </a:moveTo>
                <a:lnTo>
                  <a:pt x="3542736" y="236479"/>
                </a:lnTo>
                <a:lnTo>
                  <a:pt x="3948965" y="310"/>
                </a:lnTo>
                <a:lnTo>
                  <a:pt x="5733158" y="1037586"/>
                </a:lnTo>
                <a:lnTo>
                  <a:pt x="5733159" y="5009477"/>
                </a:lnTo>
                <a:lnTo>
                  <a:pt x="4338" y="5009477"/>
                </a:lnTo>
                <a:lnTo>
                  <a:pt x="4339" y="2425878"/>
                </a:lnTo>
                <a:lnTo>
                  <a:pt x="0" y="2261102"/>
                </a:lnTo>
                <a:cubicBezTo>
                  <a:pt x="19668" y="1982816"/>
                  <a:pt x="172720" y="1718951"/>
                  <a:pt x="432506" y="1568961"/>
                </a:cubicBezTo>
                <a:lnTo>
                  <a:pt x="1117251" y="1173625"/>
                </a:lnTo>
                <a:close/>
              </a:path>
            </a:pathLst>
          </a:custGeom>
          <a:noFill/>
        </p:spPr>
        <p:txBody>
          <a:bodyPr wrap="square" bIns="720000" anchor="ctr">
            <a:noAutofit/>
          </a:bodyPr>
          <a:lstStyle>
            <a:lvl1pPr marL="0" indent="0" algn="ctr">
              <a:buNone/>
              <a:defRPr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FE0EC2-D52C-F44E-9497-2A0AF7AE7E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918470" y="0"/>
            <a:ext cx="1813560" cy="1905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F2410E-84E0-374C-8FAC-AEE821559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046" y="2597561"/>
            <a:ext cx="4087660" cy="1655762"/>
          </a:xfrm>
        </p:spPr>
        <p:txBody>
          <a:bodyPr anchor="b"/>
          <a:lstStyle>
            <a:lvl1pPr algn="l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88EC5C-8752-C14B-B677-11084FDF84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70046" y="4378288"/>
            <a:ext cx="4087660" cy="124625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47F31B1-C864-3048-93AD-42DA13C02A7C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570046" y="1725191"/>
            <a:ext cx="4087660" cy="722489"/>
          </a:xfrm>
          <a:ln>
            <a:noFill/>
          </a:ln>
        </p:spPr>
        <p:txBody>
          <a:bodyPr anchor="b"/>
          <a:lstStyle>
            <a:lvl1pPr marL="0" indent="0">
              <a:buNone/>
              <a:defRPr sz="1000" u="sng" strike="noStrike" baseline="0">
                <a:ln>
                  <a:noFill/>
                </a:ln>
                <a:solidFill>
                  <a:schemeClr val="accent5"/>
                </a:solidFill>
                <a:uFill>
                  <a:solidFill>
                    <a:schemeClr val="accent5"/>
                  </a:solidFill>
                </a:u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48825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42242E-E6C6-AA45-B99D-37984E63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38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Blank-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A1988F-9E9E-564B-AAE8-E8A6376BDC26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42242E-E6C6-AA45-B99D-37984E63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8502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Blank-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A1988F-9E9E-564B-AAE8-E8A6376BDC26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42242E-E6C6-AA45-B99D-37984E63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257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Blank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7A1988F-9E9E-564B-AAE8-E8A6376BDC26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D9F2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42242E-E6C6-AA45-B99D-37984E63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840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47063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7C00AD0-E5CF-C34A-B2BE-43ADA197062B}"/>
              </a:ext>
            </a:extLst>
          </p:cNvPr>
          <p:cNvSpPr/>
          <p:nvPr userDrawn="1"/>
        </p:nvSpPr>
        <p:spPr>
          <a:xfrm>
            <a:off x="-168696" y="-171400"/>
            <a:ext cx="864021" cy="7272808"/>
          </a:xfrm>
          <a:prstGeom prst="rect">
            <a:avLst/>
          </a:prstGeom>
          <a:gradFill flip="none" rotWithShape="1">
            <a:gsLst>
              <a:gs pos="1000">
                <a:srgbClr val="8D3F98"/>
              </a:gs>
              <a:gs pos="100000">
                <a:srgbClr val="F0514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D8AEC23-A28A-4BE8-A651-43646D57C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7448" y="1600201"/>
            <a:ext cx="1045495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Museo Sans 700" panose="02000000000000000000" pitchFamily="2" charset="0"/>
              </a:defRPr>
            </a:lvl1pPr>
            <a:lvl2pPr>
              <a:defRPr>
                <a:latin typeface="Museo Sans 700" panose="02000000000000000000" pitchFamily="2" charset="0"/>
              </a:defRPr>
            </a:lvl2pPr>
            <a:lvl3pPr>
              <a:defRPr>
                <a:latin typeface="Museo Sans 700" panose="02000000000000000000" pitchFamily="2" charset="0"/>
              </a:defRPr>
            </a:lvl3pPr>
            <a:lvl4pPr>
              <a:defRPr>
                <a:latin typeface="Museo Sans 700" panose="02000000000000000000" pitchFamily="2" charset="0"/>
              </a:defRPr>
            </a:lvl4pPr>
            <a:lvl5pPr>
              <a:defRPr>
                <a:latin typeface="Museo Sans 700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Placeholder 4">
            <a:extLst>
              <a:ext uri="{FF2B5EF4-FFF2-40B4-BE49-F238E27FC236}">
                <a16:creationId xmlns:a16="http://schemas.microsoft.com/office/drawing/2014/main" id="{77889E2B-7455-4285-8344-DDA8B57A7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303587"/>
            <a:ext cx="1045495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Museo Sans 900" panose="02000000000000000000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1511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7C00AD0-E5CF-C34A-B2BE-43ADA197062B}"/>
              </a:ext>
            </a:extLst>
          </p:cNvPr>
          <p:cNvSpPr/>
          <p:nvPr userDrawn="1"/>
        </p:nvSpPr>
        <p:spPr>
          <a:xfrm>
            <a:off x="-168696" y="-171400"/>
            <a:ext cx="864021" cy="7272808"/>
          </a:xfrm>
          <a:prstGeom prst="rect">
            <a:avLst/>
          </a:prstGeom>
          <a:gradFill flip="none" rotWithShape="1">
            <a:gsLst>
              <a:gs pos="1000">
                <a:srgbClr val="8D3F98"/>
              </a:gs>
              <a:gs pos="100000">
                <a:srgbClr val="F0514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D8AEC23-A28A-4BE8-A651-43646D57C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7448" y="1600201"/>
            <a:ext cx="1045495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Museo Sans 700" panose="02000000000000000000" pitchFamily="2" charset="0"/>
              </a:defRPr>
            </a:lvl1pPr>
            <a:lvl2pPr>
              <a:defRPr>
                <a:latin typeface="Museo Sans 700" panose="02000000000000000000" pitchFamily="2" charset="0"/>
              </a:defRPr>
            </a:lvl2pPr>
            <a:lvl3pPr>
              <a:defRPr>
                <a:latin typeface="Museo Sans 700" panose="02000000000000000000" pitchFamily="2" charset="0"/>
              </a:defRPr>
            </a:lvl3pPr>
            <a:lvl4pPr>
              <a:defRPr>
                <a:latin typeface="Museo Sans 700" panose="02000000000000000000" pitchFamily="2" charset="0"/>
              </a:defRPr>
            </a:lvl4pPr>
            <a:lvl5pPr>
              <a:defRPr>
                <a:latin typeface="Museo Sans 700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Placeholder 4">
            <a:extLst>
              <a:ext uri="{FF2B5EF4-FFF2-40B4-BE49-F238E27FC236}">
                <a16:creationId xmlns:a16="http://schemas.microsoft.com/office/drawing/2014/main" id="{77889E2B-7455-4285-8344-DDA8B57A7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303587"/>
            <a:ext cx="1045495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Museo Sans 900" panose="02000000000000000000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B2E388-6B00-4EBB-99BB-DB6929BABE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68408" y="5810637"/>
            <a:ext cx="1920406" cy="74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704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7C00AD0-E5CF-C34A-B2BE-43ADA197062B}"/>
              </a:ext>
            </a:extLst>
          </p:cNvPr>
          <p:cNvSpPr/>
          <p:nvPr userDrawn="1"/>
        </p:nvSpPr>
        <p:spPr>
          <a:xfrm>
            <a:off x="-168696" y="-171400"/>
            <a:ext cx="864021" cy="7272808"/>
          </a:xfrm>
          <a:prstGeom prst="rect">
            <a:avLst/>
          </a:prstGeom>
          <a:gradFill flip="none" rotWithShape="1">
            <a:gsLst>
              <a:gs pos="1000">
                <a:srgbClr val="8D3F98"/>
              </a:gs>
              <a:gs pos="100000">
                <a:srgbClr val="F0514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D8AEC23-A28A-4BE8-A651-43646D57C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7448" y="1600201"/>
            <a:ext cx="1045495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Museo Sans 700" panose="02000000000000000000" pitchFamily="2" charset="0"/>
              </a:defRPr>
            </a:lvl1pPr>
            <a:lvl2pPr>
              <a:defRPr>
                <a:latin typeface="Museo Sans 700" panose="02000000000000000000" pitchFamily="2" charset="0"/>
              </a:defRPr>
            </a:lvl2pPr>
            <a:lvl3pPr>
              <a:defRPr>
                <a:latin typeface="Museo Sans 700" panose="02000000000000000000" pitchFamily="2" charset="0"/>
              </a:defRPr>
            </a:lvl3pPr>
            <a:lvl4pPr>
              <a:defRPr>
                <a:latin typeface="Museo Sans 700" panose="02000000000000000000" pitchFamily="2" charset="0"/>
              </a:defRPr>
            </a:lvl4pPr>
            <a:lvl5pPr>
              <a:defRPr>
                <a:latin typeface="Museo Sans 700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Placeholder 4">
            <a:extLst>
              <a:ext uri="{FF2B5EF4-FFF2-40B4-BE49-F238E27FC236}">
                <a16:creationId xmlns:a16="http://schemas.microsoft.com/office/drawing/2014/main" id="{77889E2B-7455-4285-8344-DDA8B57A7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303587"/>
            <a:ext cx="1045495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Museo Sans 900" panose="02000000000000000000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F2299-5ACE-47E9-AF18-D0F019BAA5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5585899"/>
            <a:ext cx="1080529" cy="10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4298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DB37AF-B3E1-4B43-A871-28A60CC928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04" y="4228"/>
            <a:ext cx="12961440" cy="7297854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4CC816-E02A-4193-88ED-3FB74EA39D3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5325" y="836613"/>
            <a:ext cx="9145588" cy="5761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bg1"/>
                </a:solidFill>
                <a:latin typeface="Museo Sans 9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6813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DB37AF-B3E1-4B43-A871-28A60CC928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04" y="4228"/>
            <a:ext cx="12961440" cy="7297854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4CC816-E02A-4193-88ED-3FB74EA39D3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5325" y="836613"/>
            <a:ext cx="9145588" cy="5761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bg1"/>
                </a:solidFill>
                <a:latin typeface="Museo Sans 9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3C7C06-0703-4798-BC43-1578519433DB}"/>
              </a:ext>
            </a:extLst>
          </p:cNvPr>
          <p:cNvSpPr/>
          <p:nvPr userDrawn="1"/>
        </p:nvSpPr>
        <p:spPr>
          <a:xfrm rot="5400000">
            <a:off x="4547232" y="-2269669"/>
            <a:ext cx="46637" cy="7750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07464415-F1EB-4203-8E18-72B13A947B3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5325" y="2261978"/>
            <a:ext cx="9145588" cy="576163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800">
                <a:solidFill>
                  <a:schemeClr val="bg1"/>
                </a:solidFill>
                <a:latin typeface="Museo Sans 7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08521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1968009-FED2-BE49-BD1D-611272C9BB11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5EE806-BCEA-E945-9256-F3B4CD6759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DFE10E-4D00-404E-80B8-BC2968BE7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93645"/>
            <a:ext cx="10515600" cy="717550"/>
          </a:xfrm>
        </p:spPr>
        <p:txBody>
          <a:bodyPr anchor="b"/>
          <a:lstStyle>
            <a:lvl1pPr algn="ctr">
              <a:defRPr sz="2500"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6F6B2C2-AEF2-1C49-88E8-1826D4762178}"/>
              </a:ext>
            </a:extLst>
          </p:cNvPr>
          <p:cNvSpPr/>
          <p:nvPr userDrawn="1"/>
        </p:nvSpPr>
        <p:spPr>
          <a:xfrm>
            <a:off x="961200" y="2764800"/>
            <a:ext cx="1933200" cy="26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94111D-CD98-5C40-A5B4-DFD2F4949B35}"/>
              </a:ext>
            </a:extLst>
          </p:cNvPr>
          <p:cNvSpPr/>
          <p:nvPr userDrawn="1"/>
        </p:nvSpPr>
        <p:spPr>
          <a:xfrm>
            <a:off x="3045600" y="2764800"/>
            <a:ext cx="1933200" cy="26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37A31B-0E7C-9442-858A-765EDD80CF45}"/>
              </a:ext>
            </a:extLst>
          </p:cNvPr>
          <p:cNvSpPr/>
          <p:nvPr userDrawn="1"/>
        </p:nvSpPr>
        <p:spPr>
          <a:xfrm>
            <a:off x="5130000" y="2764800"/>
            <a:ext cx="1933200" cy="26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EBCDD6-52FC-EA47-9A3F-B04886F087AA}"/>
              </a:ext>
            </a:extLst>
          </p:cNvPr>
          <p:cNvSpPr/>
          <p:nvPr userDrawn="1"/>
        </p:nvSpPr>
        <p:spPr>
          <a:xfrm>
            <a:off x="7214400" y="2764800"/>
            <a:ext cx="1933200" cy="26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BB5C6D-7A75-0346-9E6D-1FF080C1F6B9}"/>
              </a:ext>
            </a:extLst>
          </p:cNvPr>
          <p:cNvSpPr/>
          <p:nvPr userDrawn="1"/>
        </p:nvSpPr>
        <p:spPr>
          <a:xfrm>
            <a:off x="9298800" y="2764800"/>
            <a:ext cx="1933200" cy="26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8E649685-88BD-B946-9B9C-B387D55353F2}"/>
              </a:ext>
            </a:extLst>
          </p:cNvPr>
          <p:cNvSpPr/>
          <p:nvPr userDrawn="1"/>
        </p:nvSpPr>
        <p:spPr>
          <a:xfrm>
            <a:off x="1373263" y="2130612"/>
            <a:ext cx="1112235" cy="1268104"/>
          </a:xfrm>
          <a:custGeom>
            <a:avLst/>
            <a:gdLst>
              <a:gd name="connsiteX0" fmla="*/ 554603 w 1112235"/>
              <a:gd name="connsiteY0" fmla="*/ 0 h 1268104"/>
              <a:gd name="connsiteX1" fmla="*/ 1025893 w 1112235"/>
              <a:gd name="connsiteY1" fmla="*/ 273994 h 1268104"/>
              <a:gd name="connsiteX2" fmla="*/ 1044518 w 1112235"/>
              <a:gd name="connsiteY2" fmla="*/ 284747 h 1268104"/>
              <a:gd name="connsiteX3" fmla="*/ 1112235 w 1112235"/>
              <a:gd name="connsiteY3" fmla="*/ 393115 h 1268104"/>
              <a:gd name="connsiteX4" fmla="*/ 1111873 w 1112235"/>
              <a:gd name="connsiteY4" fmla="*/ 406870 h 1268104"/>
              <a:gd name="connsiteX5" fmla="*/ 1111873 w 1112235"/>
              <a:gd name="connsiteY5" fmla="*/ 861972 h 1268104"/>
              <a:gd name="connsiteX6" fmla="*/ 1112235 w 1112235"/>
              <a:gd name="connsiteY6" fmla="*/ 875715 h 1268104"/>
              <a:gd name="connsiteX7" fmla="*/ 1044518 w 1112235"/>
              <a:gd name="connsiteY7" fmla="*/ 984083 h 1268104"/>
              <a:gd name="connsiteX8" fmla="*/ 926680 w 1112235"/>
              <a:gd name="connsiteY8" fmla="*/ 1052117 h 1268104"/>
              <a:gd name="connsiteX9" fmla="*/ 926539 w 1112235"/>
              <a:gd name="connsiteY9" fmla="*/ 1051872 h 1268104"/>
              <a:gd name="connsiteX10" fmla="*/ 554603 w 1112235"/>
              <a:gd name="connsiteY10" fmla="*/ 1268104 h 1268104"/>
              <a:gd name="connsiteX11" fmla="*/ 76478 w 1112235"/>
              <a:gd name="connsiteY11" fmla="*/ 990136 h 1268104"/>
              <a:gd name="connsiteX12" fmla="*/ 78202 w 1112235"/>
              <a:gd name="connsiteY12" fmla="*/ 990136 h 1268104"/>
              <a:gd name="connsiteX13" fmla="*/ 67717 w 1112235"/>
              <a:gd name="connsiteY13" fmla="*/ 984082 h 1268104"/>
              <a:gd name="connsiteX14" fmla="*/ 0 w 1112235"/>
              <a:gd name="connsiteY14" fmla="*/ 875714 h 1268104"/>
              <a:gd name="connsiteX15" fmla="*/ 679 w 1112235"/>
              <a:gd name="connsiteY15" fmla="*/ 849902 h 1268104"/>
              <a:gd name="connsiteX16" fmla="*/ 679 w 1112235"/>
              <a:gd name="connsiteY16" fmla="*/ 416797 h 1268104"/>
              <a:gd name="connsiteX17" fmla="*/ 0 w 1112235"/>
              <a:gd name="connsiteY17" fmla="*/ 390998 h 1268104"/>
              <a:gd name="connsiteX18" fmla="*/ 67718 w 1112235"/>
              <a:gd name="connsiteY18" fmla="*/ 282630 h 1268104"/>
              <a:gd name="connsiteX19" fmla="*/ 174928 w 1112235"/>
              <a:gd name="connsiteY19" fmla="*/ 220732 h 12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2235" h="1268104">
                <a:moveTo>
                  <a:pt x="554603" y="0"/>
                </a:moveTo>
                <a:lnTo>
                  <a:pt x="1025893" y="273994"/>
                </a:lnTo>
                <a:lnTo>
                  <a:pt x="1044518" y="284747"/>
                </a:lnTo>
                <a:cubicBezTo>
                  <a:pt x="1085193" y="308230"/>
                  <a:pt x="1109156" y="349544"/>
                  <a:pt x="1112235" y="393115"/>
                </a:cubicBezTo>
                <a:lnTo>
                  <a:pt x="1111873" y="406870"/>
                </a:lnTo>
                <a:lnTo>
                  <a:pt x="1111873" y="861972"/>
                </a:lnTo>
                <a:lnTo>
                  <a:pt x="1112235" y="875715"/>
                </a:lnTo>
                <a:cubicBezTo>
                  <a:pt x="1109156" y="919286"/>
                  <a:pt x="1085193" y="960599"/>
                  <a:pt x="1044518" y="984083"/>
                </a:cubicBezTo>
                <a:lnTo>
                  <a:pt x="926680" y="1052117"/>
                </a:lnTo>
                <a:lnTo>
                  <a:pt x="926539" y="1051872"/>
                </a:lnTo>
                <a:lnTo>
                  <a:pt x="554603" y="1268104"/>
                </a:lnTo>
                <a:lnTo>
                  <a:pt x="76478" y="990136"/>
                </a:lnTo>
                <a:lnTo>
                  <a:pt x="78202" y="990136"/>
                </a:lnTo>
                <a:lnTo>
                  <a:pt x="67717" y="984082"/>
                </a:lnTo>
                <a:cubicBezTo>
                  <a:pt x="27042" y="960599"/>
                  <a:pt x="3079" y="919286"/>
                  <a:pt x="0" y="875714"/>
                </a:cubicBezTo>
                <a:lnTo>
                  <a:pt x="679" y="849902"/>
                </a:lnTo>
                <a:lnTo>
                  <a:pt x="679" y="416797"/>
                </a:lnTo>
                <a:lnTo>
                  <a:pt x="0" y="390998"/>
                </a:lnTo>
                <a:cubicBezTo>
                  <a:pt x="3079" y="347427"/>
                  <a:pt x="27043" y="306113"/>
                  <a:pt x="67718" y="282630"/>
                </a:cubicBezTo>
                <a:lnTo>
                  <a:pt x="174928" y="220732"/>
                </a:lnTo>
                <a:close/>
              </a:path>
            </a:pathLst>
          </a:custGeom>
          <a:solidFill>
            <a:srgbClr val="FB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8AC2D41A-B6E8-9C42-BC04-59B97A7A86D8}"/>
              </a:ext>
            </a:extLst>
          </p:cNvPr>
          <p:cNvSpPr/>
          <p:nvPr userDrawn="1"/>
        </p:nvSpPr>
        <p:spPr>
          <a:xfrm>
            <a:off x="3456083" y="2130612"/>
            <a:ext cx="1112235" cy="1268104"/>
          </a:xfrm>
          <a:custGeom>
            <a:avLst/>
            <a:gdLst>
              <a:gd name="connsiteX0" fmla="*/ 554603 w 1112235"/>
              <a:gd name="connsiteY0" fmla="*/ 0 h 1268104"/>
              <a:gd name="connsiteX1" fmla="*/ 1025893 w 1112235"/>
              <a:gd name="connsiteY1" fmla="*/ 273994 h 1268104"/>
              <a:gd name="connsiteX2" fmla="*/ 1044518 w 1112235"/>
              <a:gd name="connsiteY2" fmla="*/ 284747 h 1268104"/>
              <a:gd name="connsiteX3" fmla="*/ 1112235 w 1112235"/>
              <a:gd name="connsiteY3" fmla="*/ 393115 h 1268104"/>
              <a:gd name="connsiteX4" fmla="*/ 1111873 w 1112235"/>
              <a:gd name="connsiteY4" fmla="*/ 406870 h 1268104"/>
              <a:gd name="connsiteX5" fmla="*/ 1111873 w 1112235"/>
              <a:gd name="connsiteY5" fmla="*/ 861972 h 1268104"/>
              <a:gd name="connsiteX6" fmla="*/ 1112235 w 1112235"/>
              <a:gd name="connsiteY6" fmla="*/ 875715 h 1268104"/>
              <a:gd name="connsiteX7" fmla="*/ 1044518 w 1112235"/>
              <a:gd name="connsiteY7" fmla="*/ 984083 h 1268104"/>
              <a:gd name="connsiteX8" fmla="*/ 926680 w 1112235"/>
              <a:gd name="connsiteY8" fmla="*/ 1052117 h 1268104"/>
              <a:gd name="connsiteX9" fmla="*/ 926539 w 1112235"/>
              <a:gd name="connsiteY9" fmla="*/ 1051872 h 1268104"/>
              <a:gd name="connsiteX10" fmla="*/ 554603 w 1112235"/>
              <a:gd name="connsiteY10" fmla="*/ 1268104 h 1268104"/>
              <a:gd name="connsiteX11" fmla="*/ 76478 w 1112235"/>
              <a:gd name="connsiteY11" fmla="*/ 990136 h 1268104"/>
              <a:gd name="connsiteX12" fmla="*/ 78202 w 1112235"/>
              <a:gd name="connsiteY12" fmla="*/ 990136 h 1268104"/>
              <a:gd name="connsiteX13" fmla="*/ 67717 w 1112235"/>
              <a:gd name="connsiteY13" fmla="*/ 984082 h 1268104"/>
              <a:gd name="connsiteX14" fmla="*/ 0 w 1112235"/>
              <a:gd name="connsiteY14" fmla="*/ 875714 h 1268104"/>
              <a:gd name="connsiteX15" fmla="*/ 679 w 1112235"/>
              <a:gd name="connsiteY15" fmla="*/ 849902 h 1268104"/>
              <a:gd name="connsiteX16" fmla="*/ 679 w 1112235"/>
              <a:gd name="connsiteY16" fmla="*/ 416797 h 1268104"/>
              <a:gd name="connsiteX17" fmla="*/ 0 w 1112235"/>
              <a:gd name="connsiteY17" fmla="*/ 390998 h 1268104"/>
              <a:gd name="connsiteX18" fmla="*/ 67718 w 1112235"/>
              <a:gd name="connsiteY18" fmla="*/ 282630 h 1268104"/>
              <a:gd name="connsiteX19" fmla="*/ 174928 w 1112235"/>
              <a:gd name="connsiteY19" fmla="*/ 220732 h 12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2235" h="1268104">
                <a:moveTo>
                  <a:pt x="554603" y="0"/>
                </a:moveTo>
                <a:lnTo>
                  <a:pt x="1025893" y="273994"/>
                </a:lnTo>
                <a:lnTo>
                  <a:pt x="1044518" y="284747"/>
                </a:lnTo>
                <a:cubicBezTo>
                  <a:pt x="1085193" y="308230"/>
                  <a:pt x="1109156" y="349544"/>
                  <a:pt x="1112235" y="393115"/>
                </a:cubicBezTo>
                <a:lnTo>
                  <a:pt x="1111873" y="406870"/>
                </a:lnTo>
                <a:lnTo>
                  <a:pt x="1111873" y="861972"/>
                </a:lnTo>
                <a:lnTo>
                  <a:pt x="1112235" y="875715"/>
                </a:lnTo>
                <a:cubicBezTo>
                  <a:pt x="1109156" y="919286"/>
                  <a:pt x="1085193" y="960599"/>
                  <a:pt x="1044518" y="984083"/>
                </a:cubicBezTo>
                <a:lnTo>
                  <a:pt x="926680" y="1052117"/>
                </a:lnTo>
                <a:lnTo>
                  <a:pt x="926539" y="1051872"/>
                </a:lnTo>
                <a:lnTo>
                  <a:pt x="554603" y="1268104"/>
                </a:lnTo>
                <a:lnTo>
                  <a:pt x="76478" y="990136"/>
                </a:lnTo>
                <a:lnTo>
                  <a:pt x="78202" y="990136"/>
                </a:lnTo>
                <a:lnTo>
                  <a:pt x="67717" y="984082"/>
                </a:lnTo>
                <a:cubicBezTo>
                  <a:pt x="27042" y="960599"/>
                  <a:pt x="3079" y="919286"/>
                  <a:pt x="0" y="875714"/>
                </a:cubicBezTo>
                <a:lnTo>
                  <a:pt x="679" y="849902"/>
                </a:lnTo>
                <a:lnTo>
                  <a:pt x="679" y="416797"/>
                </a:lnTo>
                <a:lnTo>
                  <a:pt x="0" y="390998"/>
                </a:lnTo>
                <a:cubicBezTo>
                  <a:pt x="3079" y="347427"/>
                  <a:pt x="27043" y="306113"/>
                  <a:pt x="67718" y="282630"/>
                </a:cubicBezTo>
                <a:lnTo>
                  <a:pt x="174928" y="220732"/>
                </a:lnTo>
                <a:close/>
              </a:path>
            </a:pathLst>
          </a:custGeom>
          <a:solidFill>
            <a:srgbClr val="FB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EE90AF71-D931-FC4A-A3D7-20D9D4EDD76A}"/>
              </a:ext>
            </a:extLst>
          </p:cNvPr>
          <p:cNvSpPr/>
          <p:nvPr userDrawn="1"/>
        </p:nvSpPr>
        <p:spPr>
          <a:xfrm>
            <a:off x="5540483" y="2130612"/>
            <a:ext cx="1112235" cy="1268104"/>
          </a:xfrm>
          <a:custGeom>
            <a:avLst/>
            <a:gdLst>
              <a:gd name="connsiteX0" fmla="*/ 554603 w 1112235"/>
              <a:gd name="connsiteY0" fmla="*/ 0 h 1268104"/>
              <a:gd name="connsiteX1" fmla="*/ 1025893 w 1112235"/>
              <a:gd name="connsiteY1" fmla="*/ 273994 h 1268104"/>
              <a:gd name="connsiteX2" fmla="*/ 1044518 w 1112235"/>
              <a:gd name="connsiteY2" fmla="*/ 284747 h 1268104"/>
              <a:gd name="connsiteX3" fmla="*/ 1112235 w 1112235"/>
              <a:gd name="connsiteY3" fmla="*/ 393115 h 1268104"/>
              <a:gd name="connsiteX4" fmla="*/ 1111873 w 1112235"/>
              <a:gd name="connsiteY4" fmla="*/ 406870 h 1268104"/>
              <a:gd name="connsiteX5" fmla="*/ 1111873 w 1112235"/>
              <a:gd name="connsiteY5" fmla="*/ 861972 h 1268104"/>
              <a:gd name="connsiteX6" fmla="*/ 1112235 w 1112235"/>
              <a:gd name="connsiteY6" fmla="*/ 875715 h 1268104"/>
              <a:gd name="connsiteX7" fmla="*/ 1044518 w 1112235"/>
              <a:gd name="connsiteY7" fmla="*/ 984083 h 1268104"/>
              <a:gd name="connsiteX8" fmla="*/ 926680 w 1112235"/>
              <a:gd name="connsiteY8" fmla="*/ 1052117 h 1268104"/>
              <a:gd name="connsiteX9" fmla="*/ 926539 w 1112235"/>
              <a:gd name="connsiteY9" fmla="*/ 1051872 h 1268104"/>
              <a:gd name="connsiteX10" fmla="*/ 554603 w 1112235"/>
              <a:gd name="connsiteY10" fmla="*/ 1268104 h 1268104"/>
              <a:gd name="connsiteX11" fmla="*/ 76478 w 1112235"/>
              <a:gd name="connsiteY11" fmla="*/ 990136 h 1268104"/>
              <a:gd name="connsiteX12" fmla="*/ 78202 w 1112235"/>
              <a:gd name="connsiteY12" fmla="*/ 990136 h 1268104"/>
              <a:gd name="connsiteX13" fmla="*/ 67717 w 1112235"/>
              <a:gd name="connsiteY13" fmla="*/ 984082 h 1268104"/>
              <a:gd name="connsiteX14" fmla="*/ 0 w 1112235"/>
              <a:gd name="connsiteY14" fmla="*/ 875714 h 1268104"/>
              <a:gd name="connsiteX15" fmla="*/ 679 w 1112235"/>
              <a:gd name="connsiteY15" fmla="*/ 849902 h 1268104"/>
              <a:gd name="connsiteX16" fmla="*/ 679 w 1112235"/>
              <a:gd name="connsiteY16" fmla="*/ 416797 h 1268104"/>
              <a:gd name="connsiteX17" fmla="*/ 0 w 1112235"/>
              <a:gd name="connsiteY17" fmla="*/ 390998 h 1268104"/>
              <a:gd name="connsiteX18" fmla="*/ 67718 w 1112235"/>
              <a:gd name="connsiteY18" fmla="*/ 282630 h 1268104"/>
              <a:gd name="connsiteX19" fmla="*/ 174928 w 1112235"/>
              <a:gd name="connsiteY19" fmla="*/ 220732 h 12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2235" h="1268104">
                <a:moveTo>
                  <a:pt x="554603" y="0"/>
                </a:moveTo>
                <a:lnTo>
                  <a:pt x="1025893" y="273994"/>
                </a:lnTo>
                <a:lnTo>
                  <a:pt x="1044518" y="284747"/>
                </a:lnTo>
                <a:cubicBezTo>
                  <a:pt x="1085193" y="308230"/>
                  <a:pt x="1109156" y="349544"/>
                  <a:pt x="1112235" y="393115"/>
                </a:cubicBezTo>
                <a:lnTo>
                  <a:pt x="1111873" y="406870"/>
                </a:lnTo>
                <a:lnTo>
                  <a:pt x="1111873" y="861972"/>
                </a:lnTo>
                <a:lnTo>
                  <a:pt x="1112235" y="875715"/>
                </a:lnTo>
                <a:cubicBezTo>
                  <a:pt x="1109156" y="919286"/>
                  <a:pt x="1085193" y="960599"/>
                  <a:pt x="1044518" y="984083"/>
                </a:cubicBezTo>
                <a:lnTo>
                  <a:pt x="926680" y="1052117"/>
                </a:lnTo>
                <a:lnTo>
                  <a:pt x="926539" y="1051872"/>
                </a:lnTo>
                <a:lnTo>
                  <a:pt x="554603" y="1268104"/>
                </a:lnTo>
                <a:lnTo>
                  <a:pt x="76478" y="990136"/>
                </a:lnTo>
                <a:lnTo>
                  <a:pt x="78202" y="990136"/>
                </a:lnTo>
                <a:lnTo>
                  <a:pt x="67717" y="984082"/>
                </a:lnTo>
                <a:cubicBezTo>
                  <a:pt x="27042" y="960599"/>
                  <a:pt x="3079" y="919286"/>
                  <a:pt x="0" y="875714"/>
                </a:cubicBezTo>
                <a:lnTo>
                  <a:pt x="679" y="849902"/>
                </a:lnTo>
                <a:lnTo>
                  <a:pt x="679" y="416797"/>
                </a:lnTo>
                <a:lnTo>
                  <a:pt x="0" y="390998"/>
                </a:lnTo>
                <a:cubicBezTo>
                  <a:pt x="3079" y="347427"/>
                  <a:pt x="27043" y="306113"/>
                  <a:pt x="67718" y="282630"/>
                </a:cubicBezTo>
                <a:lnTo>
                  <a:pt x="174928" y="220732"/>
                </a:lnTo>
                <a:close/>
              </a:path>
            </a:pathLst>
          </a:custGeom>
          <a:solidFill>
            <a:srgbClr val="FB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E54CCEF0-3E05-9943-B848-E1B73914FB4C}"/>
              </a:ext>
            </a:extLst>
          </p:cNvPr>
          <p:cNvSpPr/>
          <p:nvPr userDrawn="1"/>
        </p:nvSpPr>
        <p:spPr>
          <a:xfrm>
            <a:off x="7624883" y="2130612"/>
            <a:ext cx="1112235" cy="1268104"/>
          </a:xfrm>
          <a:custGeom>
            <a:avLst/>
            <a:gdLst>
              <a:gd name="connsiteX0" fmla="*/ 554603 w 1112235"/>
              <a:gd name="connsiteY0" fmla="*/ 0 h 1268104"/>
              <a:gd name="connsiteX1" fmla="*/ 1025893 w 1112235"/>
              <a:gd name="connsiteY1" fmla="*/ 273994 h 1268104"/>
              <a:gd name="connsiteX2" fmla="*/ 1044518 w 1112235"/>
              <a:gd name="connsiteY2" fmla="*/ 284747 h 1268104"/>
              <a:gd name="connsiteX3" fmla="*/ 1112235 w 1112235"/>
              <a:gd name="connsiteY3" fmla="*/ 393115 h 1268104"/>
              <a:gd name="connsiteX4" fmla="*/ 1111873 w 1112235"/>
              <a:gd name="connsiteY4" fmla="*/ 406870 h 1268104"/>
              <a:gd name="connsiteX5" fmla="*/ 1111873 w 1112235"/>
              <a:gd name="connsiteY5" fmla="*/ 861972 h 1268104"/>
              <a:gd name="connsiteX6" fmla="*/ 1112235 w 1112235"/>
              <a:gd name="connsiteY6" fmla="*/ 875715 h 1268104"/>
              <a:gd name="connsiteX7" fmla="*/ 1044518 w 1112235"/>
              <a:gd name="connsiteY7" fmla="*/ 984083 h 1268104"/>
              <a:gd name="connsiteX8" fmla="*/ 926680 w 1112235"/>
              <a:gd name="connsiteY8" fmla="*/ 1052117 h 1268104"/>
              <a:gd name="connsiteX9" fmla="*/ 926539 w 1112235"/>
              <a:gd name="connsiteY9" fmla="*/ 1051872 h 1268104"/>
              <a:gd name="connsiteX10" fmla="*/ 554603 w 1112235"/>
              <a:gd name="connsiteY10" fmla="*/ 1268104 h 1268104"/>
              <a:gd name="connsiteX11" fmla="*/ 76478 w 1112235"/>
              <a:gd name="connsiteY11" fmla="*/ 990136 h 1268104"/>
              <a:gd name="connsiteX12" fmla="*/ 78202 w 1112235"/>
              <a:gd name="connsiteY12" fmla="*/ 990136 h 1268104"/>
              <a:gd name="connsiteX13" fmla="*/ 67717 w 1112235"/>
              <a:gd name="connsiteY13" fmla="*/ 984082 h 1268104"/>
              <a:gd name="connsiteX14" fmla="*/ 0 w 1112235"/>
              <a:gd name="connsiteY14" fmla="*/ 875714 h 1268104"/>
              <a:gd name="connsiteX15" fmla="*/ 679 w 1112235"/>
              <a:gd name="connsiteY15" fmla="*/ 849902 h 1268104"/>
              <a:gd name="connsiteX16" fmla="*/ 679 w 1112235"/>
              <a:gd name="connsiteY16" fmla="*/ 416797 h 1268104"/>
              <a:gd name="connsiteX17" fmla="*/ 0 w 1112235"/>
              <a:gd name="connsiteY17" fmla="*/ 390998 h 1268104"/>
              <a:gd name="connsiteX18" fmla="*/ 67718 w 1112235"/>
              <a:gd name="connsiteY18" fmla="*/ 282630 h 1268104"/>
              <a:gd name="connsiteX19" fmla="*/ 174928 w 1112235"/>
              <a:gd name="connsiteY19" fmla="*/ 220732 h 12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2235" h="1268104">
                <a:moveTo>
                  <a:pt x="554603" y="0"/>
                </a:moveTo>
                <a:lnTo>
                  <a:pt x="1025893" y="273994"/>
                </a:lnTo>
                <a:lnTo>
                  <a:pt x="1044518" y="284747"/>
                </a:lnTo>
                <a:cubicBezTo>
                  <a:pt x="1085193" y="308230"/>
                  <a:pt x="1109156" y="349544"/>
                  <a:pt x="1112235" y="393115"/>
                </a:cubicBezTo>
                <a:lnTo>
                  <a:pt x="1111873" y="406870"/>
                </a:lnTo>
                <a:lnTo>
                  <a:pt x="1111873" y="861972"/>
                </a:lnTo>
                <a:lnTo>
                  <a:pt x="1112235" y="875715"/>
                </a:lnTo>
                <a:cubicBezTo>
                  <a:pt x="1109156" y="919286"/>
                  <a:pt x="1085193" y="960599"/>
                  <a:pt x="1044518" y="984083"/>
                </a:cubicBezTo>
                <a:lnTo>
                  <a:pt x="926680" y="1052117"/>
                </a:lnTo>
                <a:lnTo>
                  <a:pt x="926539" y="1051872"/>
                </a:lnTo>
                <a:lnTo>
                  <a:pt x="554603" y="1268104"/>
                </a:lnTo>
                <a:lnTo>
                  <a:pt x="76478" y="990136"/>
                </a:lnTo>
                <a:lnTo>
                  <a:pt x="78202" y="990136"/>
                </a:lnTo>
                <a:lnTo>
                  <a:pt x="67717" y="984082"/>
                </a:lnTo>
                <a:cubicBezTo>
                  <a:pt x="27042" y="960599"/>
                  <a:pt x="3079" y="919286"/>
                  <a:pt x="0" y="875714"/>
                </a:cubicBezTo>
                <a:lnTo>
                  <a:pt x="679" y="849902"/>
                </a:lnTo>
                <a:lnTo>
                  <a:pt x="679" y="416797"/>
                </a:lnTo>
                <a:lnTo>
                  <a:pt x="0" y="390998"/>
                </a:lnTo>
                <a:cubicBezTo>
                  <a:pt x="3079" y="347427"/>
                  <a:pt x="27043" y="306113"/>
                  <a:pt x="67718" y="282630"/>
                </a:cubicBezTo>
                <a:lnTo>
                  <a:pt x="174928" y="220732"/>
                </a:lnTo>
                <a:close/>
              </a:path>
            </a:pathLst>
          </a:custGeom>
          <a:solidFill>
            <a:srgbClr val="FB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C80D5EF7-EB4F-A949-8F58-73154B849053}"/>
              </a:ext>
            </a:extLst>
          </p:cNvPr>
          <p:cNvSpPr/>
          <p:nvPr userDrawn="1"/>
        </p:nvSpPr>
        <p:spPr>
          <a:xfrm>
            <a:off x="9709283" y="2130612"/>
            <a:ext cx="1112235" cy="1268104"/>
          </a:xfrm>
          <a:custGeom>
            <a:avLst/>
            <a:gdLst>
              <a:gd name="connsiteX0" fmla="*/ 554603 w 1112235"/>
              <a:gd name="connsiteY0" fmla="*/ 0 h 1268104"/>
              <a:gd name="connsiteX1" fmla="*/ 1025893 w 1112235"/>
              <a:gd name="connsiteY1" fmla="*/ 273994 h 1268104"/>
              <a:gd name="connsiteX2" fmla="*/ 1044518 w 1112235"/>
              <a:gd name="connsiteY2" fmla="*/ 284747 h 1268104"/>
              <a:gd name="connsiteX3" fmla="*/ 1112235 w 1112235"/>
              <a:gd name="connsiteY3" fmla="*/ 393115 h 1268104"/>
              <a:gd name="connsiteX4" fmla="*/ 1111873 w 1112235"/>
              <a:gd name="connsiteY4" fmla="*/ 406870 h 1268104"/>
              <a:gd name="connsiteX5" fmla="*/ 1111873 w 1112235"/>
              <a:gd name="connsiteY5" fmla="*/ 861972 h 1268104"/>
              <a:gd name="connsiteX6" fmla="*/ 1112235 w 1112235"/>
              <a:gd name="connsiteY6" fmla="*/ 875715 h 1268104"/>
              <a:gd name="connsiteX7" fmla="*/ 1044518 w 1112235"/>
              <a:gd name="connsiteY7" fmla="*/ 984083 h 1268104"/>
              <a:gd name="connsiteX8" fmla="*/ 926680 w 1112235"/>
              <a:gd name="connsiteY8" fmla="*/ 1052117 h 1268104"/>
              <a:gd name="connsiteX9" fmla="*/ 926539 w 1112235"/>
              <a:gd name="connsiteY9" fmla="*/ 1051872 h 1268104"/>
              <a:gd name="connsiteX10" fmla="*/ 554603 w 1112235"/>
              <a:gd name="connsiteY10" fmla="*/ 1268104 h 1268104"/>
              <a:gd name="connsiteX11" fmla="*/ 76478 w 1112235"/>
              <a:gd name="connsiteY11" fmla="*/ 990136 h 1268104"/>
              <a:gd name="connsiteX12" fmla="*/ 78202 w 1112235"/>
              <a:gd name="connsiteY12" fmla="*/ 990136 h 1268104"/>
              <a:gd name="connsiteX13" fmla="*/ 67717 w 1112235"/>
              <a:gd name="connsiteY13" fmla="*/ 984082 h 1268104"/>
              <a:gd name="connsiteX14" fmla="*/ 0 w 1112235"/>
              <a:gd name="connsiteY14" fmla="*/ 875714 h 1268104"/>
              <a:gd name="connsiteX15" fmla="*/ 679 w 1112235"/>
              <a:gd name="connsiteY15" fmla="*/ 849902 h 1268104"/>
              <a:gd name="connsiteX16" fmla="*/ 679 w 1112235"/>
              <a:gd name="connsiteY16" fmla="*/ 416797 h 1268104"/>
              <a:gd name="connsiteX17" fmla="*/ 0 w 1112235"/>
              <a:gd name="connsiteY17" fmla="*/ 390998 h 1268104"/>
              <a:gd name="connsiteX18" fmla="*/ 67718 w 1112235"/>
              <a:gd name="connsiteY18" fmla="*/ 282630 h 1268104"/>
              <a:gd name="connsiteX19" fmla="*/ 174928 w 1112235"/>
              <a:gd name="connsiteY19" fmla="*/ 220732 h 12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2235" h="1268104">
                <a:moveTo>
                  <a:pt x="554603" y="0"/>
                </a:moveTo>
                <a:lnTo>
                  <a:pt x="1025893" y="273994"/>
                </a:lnTo>
                <a:lnTo>
                  <a:pt x="1044518" y="284747"/>
                </a:lnTo>
                <a:cubicBezTo>
                  <a:pt x="1085193" y="308230"/>
                  <a:pt x="1109156" y="349544"/>
                  <a:pt x="1112235" y="393115"/>
                </a:cubicBezTo>
                <a:lnTo>
                  <a:pt x="1111873" y="406870"/>
                </a:lnTo>
                <a:lnTo>
                  <a:pt x="1111873" y="861972"/>
                </a:lnTo>
                <a:lnTo>
                  <a:pt x="1112235" y="875715"/>
                </a:lnTo>
                <a:cubicBezTo>
                  <a:pt x="1109156" y="919286"/>
                  <a:pt x="1085193" y="960599"/>
                  <a:pt x="1044518" y="984083"/>
                </a:cubicBezTo>
                <a:lnTo>
                  <a:pt x="926680" y="1052117"/>
                </a:lnTo>
                <a:lnTo>
                  <a:pt x="926539" y="1051872"/>
                </a:lnTo>
                <a:lnTo>
                  <a:pt x="554603" y="1268104"/>
                </a:lnTo>
                <a:lnTo>
                  <a:pt x="76478" y="990136"/>
                </a:lnTo>
                <a:lnTo>
                  <a:pt x="78202" y="990136"/>
                </a:lnTo>
                <a:lnTo>
                  <a:pt x="67717" y="984082"/>
                </a:lnTo>
                <a:cubicBezTo>
                  <a:pt x="27042" y="960599"/>
                  <a:pt x="3079" y="919286"/>
                  <a:pt x="0" y="875714"/>
                </a:cubicBezTo>
                <a:lnTo>
                  <a:pt x="679" y="849902"/>
                </a:lnTo>
                <a:lnTo>
                  <a:pt x="679" y="416797"/>
                </a:lnTo>
                <a:lnTo>
                  <a:pt x="0" y="390998"/>
                </a:lnTo>
                <a:cubicBezTo>
                  <a:pt x="3079" y="347427"/>
                  <a:pt x="27043" y="306113"/>
                  <a:pt x="67718" y="282630"/>
                </a:cubicBezTo>
                <a:lnTo>
                  <a:pt x="174928" y="220732"/>
                </a:lnTo>
                <a:close/>
              </a:path>
            </a:pathLst>
          </a:custGeom>
          <a:solidFill>
            <a:srgbClr val="FB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BB29A-EFC9-5A49-86BE-3D5DFBD43E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61200" y="3466009"/>
            <a:ext cx="1933200" cy="2267242"/>
          </a:xfrm>
          <a:solidFill>
            <a:schemeClr val="bg1"/>
          </a:solidFill>
        </p:spPr>
        <p:txBody>
          <a:bodyPr lIns="180000" tIns="90000" rIns="180000" bIns="270000">
            <a:noAutofit/>
          </a:bodyPr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FE394ED-4368-B44D-ADAA-3BB3DFEA94E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045600" y="3466009"/>
            <a:ext cx="1933200" cy="2267242"/>
          </a:xfrm>
          <a:solidFill>
            <a:schemeClr val="bg1"/>
          </a:solidFill>
        </p:spPr>
        <p:txBody>
          <a:bodyPr lIns="180000" tIns="90000" rIns="180000" bIns="270000">
            <a:noAutofit/>
          </a:bodyPr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EC8E231-4AD5-4847-936F-A921F7D3CB44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5130000" y="3466009"/>
            <a:ext cx="1933200" cy="2267242"/>
          </a:xfrm>
          <a:solidFill>
            <a:schemeClr val="bg1"/>
          </a:solidFill>
        </p:spPr>
        <p:txBody>
          <a:bodyPr lIns="180000" tIns="90000" rIns="180000" bIns="270000">
            <a:noAutofit/>
          </a:bodyPr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7A09190-C733-2947-B413-077042C0B35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7214400" y="3466009"/>
            <a:ext cx="1933200" cy="2267242"/>
          </a:xfrm>
          <a:solidFill>
            <a:schemeClr val="bg1"/>
          </a:solidFill>
        </p:spPr>
        <p:txBody>
          <a:bodyPr lIns="180000" tIns="90000" rIns="180000" bIns="270000">
            <a:noAutofit/>
          </a:bodyPr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6742804-5D02-3E48-BEDF-365F8760BA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9298800" y="3466009"/>
            <a:ext cx="1933200" cy="2267242"/>
          </a:xfrm>
          <a:solidFill>
            <a:schemeClr val="bg1"/>
          </a:solidFill>
        </p:spPr>
        <p:txBody>
          <a:bodyPr lIns="180000" tIns="90000" rIns="180000" bIns="270000">
            <a:noAutofit/>
          </a:bodyPr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87C75053-D759-D148-824E-F688A499AA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2562" y="2431916"/>
            <a:ext cx="933957" cy="667965"/>
          </a:xfrm>
        </p:spPr>
        <p:txBody>
          <a:bodyPr anchor="ctr">
            <a:noAutofit/>
          </a:bodyPr>
          <a:lstStyle>
            <a:lvl1pPr algn="ctr">
              <a:defRPr sz="450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1</a:t>
            </a:r>
            <a:endParaRPr lang="en-US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3791DB3F-FB74-4743-AA6E-E0B60CE589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45222" y="2431916"/>
            <a:ext cx="933957" cy="667965"/>
          </a:xfrm>
        </p:spPr>
        <p:txBody>
          <a:bodyPr anchor="ctr">
            <a:noAutofit/>
          </a:bodyPr>
          <a:lstStyle>
            <a:lvl1pPr algn="ctr">
              <a:defRPr sz="450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2</a:t>
            </a:r>
            <a:endParaRPr lang="en-US" dirty="0"/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id="{2F72188C-9E59-C342-A218-DFC2B99F75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9622" y="2431916"/>
            <a:ext cx="933957" cy="667965"/>
          </a:xfrm>
        </p:spPr>
        <p:txBody>
          <a:bodyPr anchor="ctr">
            <a:noAutofit/>
          </a:bodyPr>
          <a:lstStyle>
            <a:lvl1pPr algn="ctr">
              <a:defRPr sz="450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3</a:t>
            </a:r>
            <a:endParaRPr lang="en-US" dirty="0"/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E9A3D790-DD16-8D4D-B1F5-584DAEA4E6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14022" y="2431916"/>
            <a:ext cx="933957" cy="667965"/>
          </a:xfrm>
        </p:spPr>
        <p:txBody>
          <a:bodyPr anchor="ctr">
            <a:noAutofit/>
          </a:bodyPr>
          <a:lstStyle>
            <a:lvl1pPr algn="ctr">
              <a:defRPr sz="450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4</a:t>
            </a:r>
            <a:endParaRPr lang="en-US" dirty="0"/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6DD3A800-D048-224C-9B34-10EDA7BB26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98422" y="2431916"/>
            <a:ext cx="933957" cy="667965"/>
          </a:xfrm>
        </p:spPr>
        <p:txBody>
          <a:bodyPr anchor="ctr">
            <a:noAutofit/>
          </a:bodyPr>
          <a:lstStyle>
            <a:lvl1pPr algn="ctr">
              <a:defRPr sz="450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7164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DB37AF-B3E1-4B43-A871-28A60CC928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04" y="4228"/>
            <a:ext cx="12961440" cy="729785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DA2610-541F-42E3-AA35-506FB67C94C7}"/>
              </a:ext>
            </a:extLst>
          </p:cNvPr>
          <p:cNvSpPr/>
          <p:nvPr userDrawn="1"/>
        </p:nvSpPr>
        <p:spPr>
          <a:xfrm>
            <a:off x="828308" y="2261978"/>
            <a:ext cx="247772" cy="13830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2D5F-66B1-4252-9A04-51739CB4FE5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5325" y="836613"/>
            <a:ext cx="9145588" cy="5761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bg1"/>
                </a:solidFill>
                <a:latin typeface="Museo Sans 9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0D13581-B59F-40EB-8247-597F02551C9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9456" y="2261978"/>
            <a:ext cx="9145588" cy="576163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800">
                <a:solidFill>
                  <a:schemeClr val="bg1"/>
                </a:solidFill>
                <a:latin typeface="Museo Sans 7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9312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DB37AF-B3E1-4B43-A871-28A60CC928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04" y="4228"/>
            <a:ext cx="12961440" cy="729785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DA2610-541F-42E3-AA35-506FB67C94C7}"/>
              </a:ext>
            </a:extLst>
          </p:cNvPr>
          <p:cNvSpPr/>
          <p:nvPr userDrawn="1"/>
        </p:nvSpPr>
        <p:spPr>
          <a:xfrm>
            <a:off x="828308" y="2261978"/>
            <a:ext cx="247772" cy="26776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2D5F-66B1-4252-9A04-51739CB4FE5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5325" y="836613"/>
            <a:ext cx="9145588" cy="5761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bg1"/>
                </a:solidFill>
                <a:latin typeface="Museo Sans 9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0D13581-B59F-40EB-8247-597F02551C9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9456" y="2261978"/>
            <a:ext cx="9145588" cy="576163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800">
                <a:solidFill>
                  <a:schemeClr val="bg1"/>
                </a:solidFill>
                <a:latin typeface="Museo Sans 7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91219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DB37AF-B3E1-4B43-A871-28A60CC928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04" y="4228"/>
            <a:ext cx="12961440" cy="729785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DA2610-541F-42E3-AA35-506FB67C94C7}"/>
              </a:ext>
            </a:extLst>
          </p:cNvPr>
          <p:cNvSpPr/>
          <p:nvPr userDrawn="1"/>
        </p:nvSpPr>
        <p:spPr>
          <a:xfrm>
            <a:off x="828308" y="2261978"/>
            <a:ext cx="247772" cy="32552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2D5F-66B1-4252-9A04-51739CB4FE5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5325" y="836613"/>
            <a:ext cx="9145588" cy="5761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bg1"/>
                </a:solidFill>
                <a:latin typeface="Museo Sans 9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0D13581-B59F-40EB-8247-597F02551C9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9456" y="2261978"/>
            <a:ext cx="9145588" cy="576163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800">
                <a:solidFill>
                  <a:schemeClr val="bg1"/>
                </a:solidFill>
                <a:latin typeface="Museo Sans 7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01884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DB37AF-B3E1-4B43-A871-28A60CC928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04" y="4228"/>
            <a:ext cx="12961440" cy="729785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DA2610-541F-42E3-AA35-506FB67C94C7}"/>
              </a:ext>
            </a:extLst>
          </p:cNvPr>
          <p:cNvSpPr/>
          <p:nvPr userDrawn="1"/>
        </p:nvSpPr>
        <p:spPr>
          <a:xfrm>
            <a:off x="828308" y="2261978"/>
            <a:ext cx="247772" cy="44793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2D5F-66B1-4252-9A04-51739CB4FE5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5325" y="836613"/>
            <a:ext cx="9145588" cy="5761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>
                <a:solidFill>
                  <a:schemeClr val="bg1"/>
                </a:solidFill>
                <a:latin typeface="Museo Sans 9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0D13581-B59F-40EB-8247-597F02551C9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199456" y="2261978"/>
            <a:ext cx="9145588" cy="576163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800">
                <a:solidFill>
                  <a:schemeClr val="bg1"/>
                </a:solidFill>
                <a:latin typeface="Museo Sans 700" panose="02000000000000000000" pitchFamily="2" charset="0"/>
              </a:defRPr>
            </a:lvl1pPr>
            <a:lvl2pPr>
              <a:defRPr>
                <a:latin typeface="Museo Sans 900" panose="02000000000000000000" pitchFamily="2" charset="0"/>
              </a:defRPr>
            </a:lvl2pPr>
            <a:lvl3pPr>
              <a:defRPr>
                <a:latin typeface="Museo Sans 900" panose="02000000000000000000" pitchFamily="2" charset="0"/>
              </a:defRPr>
            </a:lvl3pPr>
            <a:lvl4pPr>
              <a:defRPr>
                <a:latin typeface="Museo Sans 900" panose="02000000000000000000" pitchFamily="2" charset="0"/>
              </a:defRPr>
            </a:lvl4pPr>
            <a:lvl5pPr>
              <a:defRPr>
                <a:latin typeface="Museo Sans 900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08332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7A031B8-261F-614A-9EFF-DFEE5B9AF9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2670" y="1773238"/>
            <a:ext cx="10585450" cy="39592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useo Sans 500" panose="02000000000000000000" pitchFamily="2" charset="77"/>
              </a:defRPr>
            </a:lvl1pPr>
            <a:lvl2pPr>
              <a:defRPr b="0" i="0">
                <a:latin typeface="Museo Sans 500" panose="02000000000000000000" pitchFamily="2" charset="77"/>
              </a:defRPr>
            </a:lvl2pPr>
            <a:lvl3pPr>
              <a:defRPr b="0" i="0">
                <a:latin typeface="Museo Sans 500" panose="02000000000000000000" pitchFamily="2" charset="77"/>
              </a:defRPr>
            </a:lvl3pPr>
            <a:lvl4pPr>
              <a:defRPr b="0" i="0">
                <a:latin typeface="Museo Sans 500" panose="02000000000000000000" pitchFamily="2" charset="77"/>
              </a:defRPr>
            </a:lvl4pPr>
            <a:lvl5pPr>
              <a:defRPr b="0" i="0">
                <a:latin typeface="Museo Sans 500" panose="02000000000000000000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29A9F7BF-24EE-E84B-A2EA-169DA3C9F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44767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8D3F98"/>
                </a:solidFill>
                <a:latin typeface="Museo Sans 900" panose="02000000000000000000" pitchFamily="2" charset="77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956837-8A19-2343-B2A1-0AAD3710DF54}"/>
              </a:ext>
            </a:extLst>
          </p:cNvPr>
          <p:cNvSpPr/>
          <p:nvPr userDrawn="1"/>
        </p:nvSpPr>
        <p:spPr>
          <a:xfrm>
            <a:off x="9873952" y="6561287"/>
            <a:ext cx="2318048" cy="21544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r">
              <a:spcBef>
                <a:spcPct val="0"/>
              </a:spcBef>
            </a:pPr>
            <a:r>
              <a:rPr lang="en-GB" sz="800" b="1" i="0" kern="1200" spc="300" dirty="0">
                <a:solidFill>
                  <a:srgbClr val="F0514F"/>
                </a:solidFill>
                <a:latin typeface="Museo Sans 700" panose="02000000000000000000" pitchFamily="2" charset="77"/>
                <a:ea typeface="+mn-ea"/>
                <a:cs typeface="+mn-cs"/>
              </a:rPr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E6E71-DAEF-904C-AE56-B90D920FC0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9872" y="630423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Museo Sans 300" panose="02000000000000000000" pitchFamily="2" charset="77"/>
              </a:defRPr>
            </a:lvl1pPr>
          </a:lstStyle>
          <a:p>
            <a:fld id="{0290D088-03E4-4302-8FFF-A0D1286FDA4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05411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KI Boar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479" y="2480"/>
          <a:ext cx="2477" cy="24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79" y="2480"/>
                        <a:ext cx="2477" cy="24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3B91BE9-AAB2-49D8-AD30-9AADA643D9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965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365194" y="428781"/>
            <a:ext cx="11461612" cy="44964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965" b="1">
                <a:solidFill>
                  <a:srgbClr val="00008F"/>
                </a:solidFill>
                <a:latin typeface="Georgia" panose="02040502050405020303" pitchFamily="18" charset="0"/>
              </a:defRPr>
            </a:lvl1pPr>
          </a:lstStyle>
          <a:p>
            <a:r>
              <a:rPr lang="en-CA" noProof="0" dirty="0"/>
              <a:t>Click to edit Master title styl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194" y="899284"/>
            <a:ext cx="11461475" cy="33723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700">
                <a:solidFill>
                  <a:srgbClr val="02718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CA" noProof="0" dirty="0"/>
              <a:t>Click to edit Master text styles</a:t>
            </a: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5E68BE23-A878-4748-8E01-7F69EB638D9C}"/>
              </a:ext>
            </a:extLst>
          </p:cNvPr>
          <p:cNvSpPr txBox="1">
            <a:spLocks/>
          </p:cNvSpPr>
          <p:nvPr userDrawn="1"/>
        </p:nvSpPr>
        <p:spPr>
          <a:xfrm>
            <a:off x="327908" y="63269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IE" dirty="0">
                <a:solidFill>
                  <a:prstClr val="black">
                    <a:tint val="75000"/>
                  </a:prstClr>
                </a:solidFill>
                <a:cs typeface="Calibri" panose="020F0502020204030204" pitchFamily="34" charset="0"/>
              </a:rPr>
              <a:t>AXA UK&amp;I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375FD716-B64B-4F65-85CF-A60652276A48}"/>
              </a:ext>
            </a:extLst>
          </p:cNvPr>
          <p:cNvSpPr txBox="1">
            <a:spLocks/>
          </p:cNvSpPr>
          <p:nvPr userDrawn="1"/>
        </p:nvSpPr>
        <p:spPr>
          <a:xfrm>
            <a:off x="4038531" y="63269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49" kern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IE" dirty="0">
                <a:solidFill>
                  <a:srgbClr val="898989"/>
                </a:solidFill>
                <a:cs typeface="Calibri" panose="020F0502020204030204" pitchFamily="34" charset="0"/>
              </a:rPr>
              <a:t>CONFIDENTIAL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AA4020B-75B3-4528-AA2D-184CF9A04FDF}"/>
              </a:ext>
            </a:extLst>
          </p:cNvPr>
          <p:cNvSpPr txBox="1">
            <a:spLocks/>
          </p:cNvSpPr>
          <p:nvPr userDrawn="1"/>
        </p:nvSpPr>
        <p:spPr>
          <a:xfrm>
            <a:off x="918527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7200ADD-0B75-46E0-88DD-9698E9EC1C2B}" type="slidenum">
              <a:rPr lang="en-IE" smtClean="0">
                <a:solidFill>
                  <a:prstClr val="black">
                    <a:tint val="75000"/>
                  </a:prstClr>
                </a:solidFill>
                <a:cs typeface="Calibri" panose="020F0502020204030204" pitchFamily="34" charset="0"/>
              </a:rPr>
              <a:pPr>
                <a:defRPr/>
              </a:pPr>
              <a:t>‹#›</a:t>
            </a:fld>
            <a:endParaRPr lang="en-IE" dirty="0">
              <a:solidFill>
                <a:prstClr val="black">
                  <a:tint val="75000"/>
                </a:prstClr>
              </a:solidFill>
              <a:cs typeface="Calibri" panose="020F05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E590C0-0C33-45FE-87DD-A0CEEC79C4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5125" y="1425575"/>
            <a:ext cx="11461750" cy="4645025"/>
          </a:xfrm>
        </p:spPr>
        <p:txBody>
          <a:bodyPr>
            <a:normAutofit/>
          </a:bodyPr>
          <a:lstStyle>
            <a:lvl1pPr marL="0" indent="0">
              <a:buFont typeface="Wingdings" panose="05000000000000000000" pitchFamily="2" charset="2"/>
              <a:buNone/>
              <a:defRPr sz="1500" b="0"/>
            </a:lvl1pPr>
            <a:lvl2pPr marL="267582" marR="0" indent="-26758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rgbClr val="027180"/>
              </a:buClr>
              <a:buSzTx/>
              <a:buFont typeface="Wingdings" panose="05000000000000000000" pitchFamily="2" charset="2"/>
              <a:buChar char="§"/>
              <a:tabLst/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267582" marR="0" lvl="1" indent="-26758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rgbClr val="0271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ullet poin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772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7A031B8-261F-614A-9EFF-DFEE5B9AF9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44892" y="1773238"/>
            <a:ext cx="10088664" cy="39592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useo Sans 500" panose="02000000000000000000" pitchFamily="2" charset="77"/>
              </a:defRPr>
            </a:lvl1pPr>
            <a:lvl2pPr>
              <a:defRPr b="0" i="0">
                <a:latin typeface="Museo Sans 500" panose="02000000000000000000" pitchFamily="2" charset="77"/>
              </a:defRPr>
            </a:lvl2pPr>
            <a:lvl3pPr>
              <a:defRPr b="0" i="0">
                <a:latin typeface="Museo Sans 500" panose="02000000000000000000" pitchFamily="2" charset="77"/>
              </a:defRPr>
            </a:lvl3pPr>
            <a:lvl4pPr>
              <a:defRPr b="0" i="0">
                <a:latin typeface="Museo Sans 500" panose="02000000000000000000" pitchFamily="2" charset="77"/>
              </a:defRPr>
            </a:lvl4pPr>
            <a:lvl5pPr>
              <a:defRPr b="0" i="0">
                <a:latin typeface="Museo Sans 500" panose="02000000000000000000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29A9F7BF-24EE-E84B-A2EA-169DA3C9F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892" y="447675"/>
            <a:ext cx="10022092" cy="1325563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8D3F98"/>
                </a:solidFill>
                <a:latin typeface="Museo Sans 900" panose="02000000000000000000" pitchFamily="2" charset="77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956837-8A19-2343-B2A1-0AAD3710DF54}"/>
              </a:ext>
            </a:extLst>
          </p:cNvPr>
          <p:cNvSpPr/>
          <p:nvPr userDrawn="1"/>
        </p:nvSpPr>
        <p:spPr>
          <a:xfrm>
            <a:off x="9873952" y="6561287"/>
            <a:ext cx="2318048" cy="21544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r">
              <a:spcBef>
                <a:spcPct val="0"/>
              </a:spcBef>
            </a:pPr>
            <a:r>
              <a:rPr lang="en-GB" sz="800" b="1" i="0" kern="1200" spc="300" dirty="0">
                <a:solidFill>
                  <a:srgbClr val="F0514F"/>
                </a:solidFill>
                <a:latin typeface="Museo Sans 700" panose="02000000000000000000" pitchFamily="2" charset="77"/>
                <a:ea typeface="+mn-ea"/>
                <a:cs typeface="+mn-cs"/>
              </a:rPr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3E6E71-DAEF-904C-AE56-B90D920FC0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9872" y="630423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Museo Sans 300" panose="02000000000000000000" pitchFamily="2" charset="77"/>
              </a:defRPr>
            </a:lvl1pPr>
          </a:lstStyle>
          <a:p>
            <a:fld id="{0290D088-03E4-4302-8FFF-A0D1286FDA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B67836-E101-41D6-9B46-F72EDD51A49B}"/>
              </a:ext>
            </a:extLst>
          </p:cNvPr>
          <p:cNvSpPr/>
          <p:nvPr userDrawn="1"/>
        </p:nvSpPr>
        <p:spPr>
          <a:xfrm>
            <a:off x="-168696" y="-171400"/>
            <a:ext cx="864021" cy="7272808"/>
          </a:xfrm>
          <a:prstGeom prst="rect">
            <a:avLst/>
          </a:prstGeom>
          <a:gradFill flip="none" rotWithShape="1">
            <a:gsLst>
              <a:gs pos="1000">
                <a:srgbClr val="8D3F98"/>
              </a:gs>
              <a:gs pos="100000">
                <a:srgbClr val="F0514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4597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D8AEC23-A28A-4BE8-A651-43646D57C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7448" y="1600201"/>
            <a:ext cx="1045495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Museo Sans 700" panose="02000000000000000000" pitchFamily="2" charset="0"/>
              </a:defRPr>
            </a:lvl1pPr>
            <a:lvl2pPr>
              <a:defRPr>
                <a:latin typeface="Museo Sans 700" panose="02000000000000000000" pitchFamily="2" charset="0"/>
              </a:defRPr>
            </a:lvl2pPr>
            <a:lvl3pPr>
              <a:defRPr>
                <a:latin typeface="Museo Sans 700" panose="02000000000000000000" pitchFamily="2" charset="0"/>
              </a:defRPr>
            </a:lvl3pPr>
            <a:lvl4pPr>
              <a:defRPr>
                <a:latin typeface="Museo Sans 700" panose="02000000000000000000" pitchFamily="2" charset="0"/>
              </a:defRPr>
            </a:lvl4pPr>
            <a:lvl5pPr>
              <a:defRPr>
                <a:latin typeface="Museo Sans 700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Placeholder 4">
            <a:extLst>
              <a:ext uri="{FF2B5EF4-FFF2-40B4-BE49-F238E27FC236}">
                <a16:creationId xmlns:a16="http://schemas.microsoft.com/office/drawing/2014/main" id="{77889E2B-7455-4285-8344-DDA8B57A7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303587"/>
            <a:ext cx="1045495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Museo Sans 900" panose="02000000000000000000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576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D8AEC23-A28A-4BE8-A651-43646D57C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7448" y="1600201"/>
            <a:ext cx="1045495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Museo Sans 700" panose="02000000000000000000" pitchFamily="2" charset="0"/>
              </a:defRPr>
            </a:lvl1pPr>
            <a:lvl2pPr>
              <a:defRPr>
                <a:latin typeface="Museo Sans 700" panose="02000000000000000000" pitchFamily="2" charset="0"/>
              </a:defRPr>
            </a:lvl2pPr>
            <a:lvl3pPr>
              <a:defRPr>
                <a:latin typeface="Museo Sans 700" panose="02000000000000000000" pitchFamily="2" charset="0"/>
              </a:defRPr>
            </a:lvl3pPr>
            <a:lvl4pPr>
              <a:defRPr>
                <a:latin typeface="Museo Sans 700" panose="02000000000000000000" pitchFamily="2" charset="0"/>
              </a:defRPr>
            </a:lvl4pPr>
            <a:lvl5pPr>
              <a:defRPr>
                <a:latin typeface="Museo Sans 700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Placeholder 4">
            <a:extLst>
              <a:ext uri="{FF2B5EF4-FFF2-40B4-BE49-F238E27FC236}">
                <a16:creationId xmlns:a16="http://schemas.microsoft.com/office/drawing/2014/main" id="{77889E2B-7455-4285-8344-DDA8B57A7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303587"/>
            <a:ext cx="1045495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Museo Sans 900" panose="02000000000000000000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B2E388-6B00-4EBB-99BB-DB6929BABE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68408" y="5810637"/>
            <a:ext cx="1920406" cy="74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2368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D8AEC23-A28A-4BE8-A651-43646D57C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7448" y="1600201"/>
            <a:ext cx="1045495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Museo Sans 700" panose="02000000000000000000" pitchFamily="2" charset="0"/>
              </a:defRPr>
            </a:lvl1pPr>
            <a:lvl2pPr>
              <a:defRPr>
                <a:latin typeface="Museo Sans 700" panose="02000000000000000000" pitchFamily="2" charset="0"/>
              </a:defRPr>
            </a:lvl2pPr>
            <a:lvl3pPr>
              <a:defRPr>
                <a:latin typeface="Museo Sans 700" panose="02000000000000000000" pitchFamily="2" charset="0"/>
              </a:defRPr>
            </a:lvl3pPr>
            <a:lvl4pPr>
              <a:defRPr>
                <a:latin typeface="Museo Sans 700" panose="02000000000000000000" pitchFamily="2" charset="0"/>
              </a:defRPr>
            </a:lvl4pPr>
            <a:lvl5pPr>
              <a:defRPr>
                <a:latin typeface="Museo Sans 700" panose="020000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Placeholder 4">
            <a:extLst>
              <a:ext uri="{FF2B5EF4-FFF2-40B4-BE49-F238E27FC236}">
                <a16:creationId xmlns:a16="http://schemas.microsoft.com/office/drawing/2014/main" id="{77889E2B-7455-4285-8344-DDA8B57A7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303587"/>
            <a:ext cx="1045495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Museo Sans 900" panose="02000000000000000000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9F2299-5ACE-47E9-AF18-D0F019BAA5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5585899"/>
            <a:ext cx="1080529" cy="10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7305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SA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1968009-FED2-BE49-BD1D-611272C9BB11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5EE806-BCEA-E945-9256-F3B4CD6759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DFE10E-4D00-404E-80B8-BC2968BE7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93645"/>
            <a:ext cx="10515600" cy="717550"/>
          </a:xfrm>
        </p:spPr>
        <p:txBody>
          <a:bodyPr anchor="b"/>
          <a:lstStyle>
            <a:lvl1pPr algn="ctr">
              <a:defRPr sz="2500" b="1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394111D-CD98-5C40-A5B4-DFD2F4949B35}"/>
              </a:ext>
            </a:extLst>
          </p:cNvPr>
          <p:cNvSpPr/>
          <p:nvPr userDrawn="1"/>
        </p:nvSpPr>
        <p:spPr>
          <a:xfrm>
            <a:off x="3045600" y="2764800"/>
            <a:ext cx="1933200" cy="26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37A31B-0E7C-9442-858A-765EDD80CF45}"/>
              </a:ext>
            </a:extLst>
          </p:cNvPr>
          <p:cNvSpPr/>
          <p:nvPr userDrawn="1"/>
        </p:nvSpPr>
        <p:spPr>
          <a:xfrm>
            <a:off x="5130000" y="2764800"/>
            <a:ext cx="1933200" cy="26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EBCDD6-52FC-EA47-9A3F-B04886F087AA}"/>
              </a:ext>
            </a:extLst>
          </p:cNvPr>
          <p:cNvSpPr/>
          <p:nvPr userDrawn="1"/>
        </p:nvSpPr>
        <p:spPr>
          <a:xfrm>
            <a:off x="7214400" y="2764800"/>
            <a:ext cx="1933200" cy="266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8AC2D41A-B6E8-9C42-BC04-59B97A7A86D8}"/>
              </a:ext>
            </a:extLst>
          </p:cNvPr>
          <p:cNvSpPr/>
          <p:nvPr userDrawn="1"/>
        </p:nvSpPr>
        <p:spPr>
          <a:xfrm>
            <a:off x="3456083" y="2130612"/>
            <a:ext cx="1112235" cy="1268104"/>
          </a:xfrm>
          <a:custGeom>
            <a:avLst/>
            <a:gdLst>
              <a:gd name="connsiteX0" fmla="*/ 554603 w 1112235"/>
              <a:gd name="connsiteY0" fmla="*/ 0 h 1268104"/>
              <a:gd name="connsiteX1" fmla="*/ 1025893 w 1112235"/>
              <a:gd name="connsiteY1" fmla="*/ 273994 h 1268104"/>
              <a:gd name="connsiteX2" fmla="*/ 1044518 w 1112235"/>
              <a:gd name="connsiteY2" fmla="*/ 284747 h 1268104"/>
              <a:gd name="connsiteX3" fmla="*/ 1112235 w 1112235"/>
              <a:gd name="connsiteY3" fmla="*/ 393115 h 1268104"/>
              <a:gd name="connsiteX4" fmla="*/ 1111873 w 1112235"/>
              <a:gd name="connsiteY4" fmla="*/ 406870 h 1268104"/>
              <a:gd name="connsiteX5" fmla="*/ 1111873 w 1112235"/>
              <a:gd name="connsiteY5" fmla="*/ 861972 h 1268104"/>
              <a:gd name="connsiteX6" fmla="*/ 1112235 w 1112235"/>
              <a:gd name="connsiteY6" fmla="*/ 875715 h 1268104"/>
              <a:gd name="connsiteX7" fmla="*/ 1044518 w 1112235"/>
              <a:gd name="connsiteY7" fmla="*/ 984083 h 1268104"/>
              <a:gd name="connsiteX8" fmla="*/ 926680 w 1112235"/>
              <a:gd name="connsiteY8" fmla="*/ 1052117 h 1268104"/>
              <a:gd name="connsiteX9" fmla="*/ 926539 w 1112235"/>
              <a:gd name="connsiteY9" fmla="*/ 1051872 h 1268104"/>
              <a:gd name="connsiteX10" fmla="*/ 554603 w 1112235"/>
              <a:gd name="connsiteY10" fmla="*/ 1268104 h 1268104"/>
              <a:gd name="connsiteX11" fmla="*/ 76478 w 1112235"/>
              <a:gd name="connsiteY11" fmla="*/ 990136 h 1268104"/>
              <a:gd name="connsiteX12" fmla="*/ 78202 w 1112235"/>
              <a:gd name="connsiteY12" fmla="*/ 990136 h 1268104"/>
              <a:gd name="connsiteX13" fmla="*/ 67717 w 1112235"/>
              <a:gd name="connsiteY13" fmla="*/ 984082 h 1268104"/>
              <a:gd name="connsiteX14" fmla="*/ 0 w 1112235"/>
              <a:gd name="connsiteY14" fmla="*/ 875714 h 1268104"/>
              <a:gd name="connsiteX15" fmla="*/ 679 w 1112235"/>
              <a:gd name="connsiteY15" fmla="*/ 849902 h 1268104"/>
              <a:gd name="connsiteX16" fmla="*/ 679 w 1112235"/>
              <a:gd name="connsiteY16" fmla="*/ 416797 h 1268104"/>
              <a:gd name="connsiteX17" fmla="*/ 0 w 1112235"/>
              <a:gd name="connsiteY17" fmla="*/ 390998 h 1268104"/>
              <a:gd name="connsiteX18" fmla="*/ 67718 w 1112235"/>
              <a:gd name="connsiteY18" fmla="*/ 282630 h 1268104"/>
              <a:gd name="connsiteX19" fmla="*/ 174928 w 1112235"/>
              <a:gd name="connsiteY19" fmla="*/ 220732 h 12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2235" h="1268104">
                <a:moveTo>
                  <a:pt x="554603" y="0"/>
                </a:moveTo>
                <a:lnTo>
                  <a:pt x="1025893" y="273994"/>
                </a:lnTo>
                <a:lnTo>
                  <a:pt x="1044518" y="284747"/>
                </a:lnTo>
                <a:cubicBezTo>
                  <a:pt x="1085193" y="308230"/>
                  <a:pt x="1109156" y="349544"/>
                  <a:pt x="1112235" y="393115"/>
                </a:cubicBezTo>
                <a:lnTo>
                  <a:pt x="1111873" y="406870"/>
                </a:lnTo>
                <a:lnTo>
                  <a:pt x="1111873" y="861972"/>
                </a:lnTo>
                <a:lnTo>
                  <a:pt x="1112235" y="875715"/>
                </a:lnTo>
                <a:cubicBezTo>
                  <a:pt x="1109156" y="919286"/>
                  <a:pt x="1085193" y="960599"/>
                  <a:pt x="1044518" y="984083"/>
                </a:cubicBezTo>
                <a:lnTo>
                  <a:pt x="926680" y="1052117"/>
                </a:lnTo>
                <a:lnTo>
                  <a:pt x="926539" y="1051872"/>
                </a:lnTo>
                <a:lnTo>
                  <a:pt x="554603" y="1268104"/>
                </a:lnTo>
                <a:lnTo>
                  <a:pt x="76478" y="990136"/>
                </a:lnTo>
                <a:lnTo>
                  <a:pt x="78202" y="990136"/>
                </a:lnTo>
                <a:lnTo>
                  <a:pt x="67717" y="984082"/>
                </a:lnTo>
                <a:cubicBezTo>
                  <a:pt x="27042" y="960599"/>
                  <a:pt x="3079" y="919286"/>
                  <a:pt x="0" y="875714"/>
                </a:cubicBezTo>
                <a:lnTo>
                  <a:pt x="679" y="849902"/>
                </a:lnTo>
                <a:lnTo>
                  <a:pt x="679" y="416797"/>
                </a:lnTo>
                <a:lnTo>
                  <a:pt x="0" y="390998"/>
                </a:lnTo>
                <a:cubicBezTo>
                  <a:pt x="3079" y="347427"/>
                  <a:pt x="27043" y="306113"/>
                  <a:pt x="67718" y="282630"/>
                </a:cubicBezTo>
                <a:lnTo>
                  <a:pt x="174928" y="220732"/>
                </a:lnTo>
                <a:close/>
              </a:path>
            </a:pathLst>
          </a:custGeom>
          <a:solidFill>
            <a:srgbClr val="FB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EE90AF71-D931-FC4A-A3D7-20D9D4EDD76A}"/>
              </a:ext>
            </a:extLst>
          </p:cNvPr>
          <p:cNvSpPr/>
          <p:nvPr userDrawn="1"/>
        </p:nvSpPr>
        <p:spPr>
          <a:xfrm>
            <a:off x="5540483" y="2130612"/>
            <a:ext cx="1112235" cy="1268104"/>
          </a:xfrm>
          <a:custGeom>
            <a:avLst/>
            <a:gdLst>
              <a:gd name="connsiteX0" fmla="*/ 554603 w 1112235"/>
              <a:gd name="connsiteY0" fmla="*/ 0 h 1268104"/>
              <a:gd name="connsiteX1" fmla="*/ 1025893 w 1112235"/>
              <a:gd name="connsiteY1" fmla="*/ 273994 h 1268104"/>
              <a:gd name="connsiteX2" fmla="*/ 1044518 w 1112235"/>
              <a:gd name="connsiteY2" fmla="*/ 284747 h 1268104"/>
              <a:gd name="connsiteX3" fmla="*/ 1112235 w 1112235"/>
              <a:gd name="connsiteY3" fmla="*/ 393115 h 1268104"/>
              <a:gd name="connsiteX4" fmla="*/ 1111873 w 1112235"/>
              <a:gd name="connsiteY4" fmla="*/ 406870 h 1268104"/>
              <a:gd name="connsiteX5" fmla="*/ 1111873 w 1112235"/>
              <a:gd name="connsiteY5" fmla="*/ 861972 h 1268104"/>
              <a:gd name="connsiteX6" fmla="*/ 1112235 w 1112235"/>
              <a:gd name="connsiteY6" fmla="*/ 875715 h 1268104"/>
              <a:gd name="connsiteX7" fmla="*/ 1044518 w 1112235"/>
              <a:gd name="connsiteY7" fmla="*/ 984083 h 1268104"/>
              <a:gd name="connsiteX8" fmla="*/ 926680 w 1112235"/>
              <a:gd name="connsiteY8" fmla="*/ 1052117 h 1268104"/>
              <a:gd name="connsiteX9" fmla="*/ 926539 w 1112235"/>
              <a:gd name="connsiteY9" fmla="*/ 1051872 h 1268104"/>
              <a:gd name="connsiteX10" fmla="*/ 554603 w 1112235"/>
              <a:gd name="connsiteY10" fmla="*/ 1268104 h 1268104"/>
              <a:gd name="connsiteX11" fmla="*/ 76478 w 1112235"/>
              <a:gd name="connsiteY11" fmla="*/ 990136 h 1268104"/>
              <a:gd name="connsiteX12" fmla="*/ 78202 w 1112235"/>
              <a:gd name="connsiteY12" fmla="*/ 990136 h 1268104"/>
              <a:gd name="connsiteX13" fmla="*/ 67717 w 1112235"/>
              <a:gd name="connsiteY13" fmla="*/ 984082 h 1268104"/>
              <a:gd name="connsiteX14" fmla="*/ 0 w 1112235"/>
              <a:gd name="connsiteY14" fmla="*/ 875714 h 1268104"/>
              <a:gd name="connsiteX15" fmla="*/ 679 w 1112235"/>
              <a:gd name="connsiteY15" fmla="*/ 849902 h 1268104"/>
              <a:gd name="connsiteX16" fmla="*/ 679 w 1112235"/>
              <a:gd name="connsiteY16" fmla="*/ 416797 h 1268104"/>
              <a:gd name="connsiteX17" fmla="*/ 0 w 1112235"/>
              <a:gd name="connsiteY17" fmla="*/ 390998 h 1268104"/>
              <a:gd name="connsiteX18" fmla="*/ 67718 w 1112235"/>
              <a:gd name="connsiteY18" fmla="*/ 282630 h 1268104"/>
              <a:gd name="connsiteX19" fmla="*/ 174928 w 1112235"/>
              <a:gd name="connsiteY19" fmla="*/ 220732 h 12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2235" h="1268104">
                <a:moveTo>
                  <a:pt x="554603" y="0"/>
                </a:moveTo>
                <a:lnTo>
                  <a:pt x="1025893" y="273994"/>
                </a:lnTo>
                <a:lnTo>
                  <a:pt x="1044518" y="284747"/>
                </a:lnTo>
                <a:cubicBezTo>
                  <a:pt x="1085193" y="308230"/>
                  <a:pt x="1109156" y="349544"/>
                  <a:pt x="1112235" y="393115"/>
                </a:cubicBezTo>
                <a:lnTo>
                  <a:pt x="1111873" y="406870"/>
                </a:lnTo>
                <a:lnTo>
                  <a:pt x="1111873" y="861972"/>
                </a:lnTo>
                <a:lnTo>
                  <a:pt x="1112235" y="875715"/>
                </a:lnTo>
                <a:cubicBezTo>
                  <a:pt x="1109156" y="919286"/>
                  <a:pt x="1085193" y="960599"/>
                  <a:pt x="1044518" y="984083"/>
                </a:cubicBezTo>
                <a:lnTo>
                  <a:pt x="926680" y="1052117"/>
                </a:lnTo>
                <a:lnTo>
                  <a:pt x="926539" y="1051872"/>
                </a:lnTo>
                <a:lnTo>
                  <a:pt x="554603" y="1268104"/>
                </a:lnTo>
                <a:lnTo>
                  <a:pt x="76478" y="990136"/>
                </a:lnTo>
                <a:lnTo>
                  <a:pt x="78202" y="990136"/>
                </a:lnTo>
                <a:lnTo>
                  <a:pt x="67717" y="984082"/>
                </a:lnTo>
                <a:cubicBezTo>
                  <a:pt x="27042" y="960599"/>
                  <a:pt x="3079" y="919286"/>
                  <a:pt x="0" y="875714"/>
                </a:cubicBezTo>
                <a:lnTo>
                  <a:pt x="679" y="849902"/>
                </a:lnTo>
                <a:lnTo>
                  <a:pt x="679" y="416797"/>
                </a:lnTo>
                <a:lnTo>
                  <a:pt x="0" y="390998"/>
                </a:lnTo>
                <a:cubicBezTo>
                  <a:pt x="3079" y="347427"/>
                  <a:pt x="27043" y="306113"/>
                  <a:pt x="67718" y="282630"/>
                </a:cubicBezTo>
                <a:lnTo>
                  <a:pt x="174928" y="220732"/>
                </a:lnTo>
                <a:close/>
              </a:path>
            </a:pathLst>
          </a:custGeom>
          <a:solidFill>
            <a:srgbClr val="FB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E54CCEF0-3E05-9943-B848-E1B73914FB4C}"/>
              </a:ext>
            </a:extLst>
          </p:cNvPr>
          <p:cNvSpPr/>
          <p:nvPr userDrawn="1"/>
        </p:nvSpPr>
        <p:spPr>
          <a:xfrm>
            <a:off x="7624883" y="2130612"/>
            <a:ext cx="1112235" cy="1268104"/>
          </a:xfrm>
          <a:custGeom>
            <a:avLst/>
            <a:gdLst>
              <a:gd name="connsiteX0" fmla="*/ 554603 w 1112235"/>
              <a:gd name="connsiteY0" fmla="*/ 0 h 1268104"/>
              <a:gd name="connsiteX1" fmla="*/ 1025893 w 1112235"/>
              <a:gd name="connsiteY1" fmla="*/ 273994 h 1268104"/>
              <a:gd name="connsiteX2" fmla="*/ 1044518 w 1112235"/>
              <a:gd name="connsiteY2" fmla="*/ 284747 h 1268104"/>
              <a:gd name="connsiteX3" fmla="*/ 1112235 w 1112235"/>
              <a:gd name="connsiteY3" fmla="*/ 393115 h 1268104"/>
              <a:gd name="connsiteX4" fmla="*/ 1111873 w 1112235"/>
              <a:gd name="connsiteY4" fmla="*/ 406870 h 1268104"/>
              <a:gd name="connsiteX5" fmla="*/ 1111873 w 1112235"/>
              <a:gd name="connsiteY5" fmla="*/ 861972 h 1268104"/>
              <a:gd name="connsiteX6" fmla="*/ 1112235 w 1112235"/>
              <a:gd name="connsiteY6" fmla="*/ 875715 h 1268104"/>
              <a:gd name="connsiteX7" fmla="*/ 1044518 w 1112235"/>
              <a:gd name="connsiteY7" fmla="*/ 984083 h 1268104"/>
              <a:gd name="connsiteX8" fmla="*/ 926680 w 1112235"/>
              <a:gd name="connsiteY8" fmla="*/ 1052117 h 1268104"/>
              <a:gd name="connsiteX9" fmla="*/ 926539 w 1112235"/>
              <a:gd name="connsiteY9" fmla="*/ 1051872 h 1268104"/>
              <a:gd name="connsiteX10" fmla="*/ 554603 w 1112235"/>
              <a:gd name="connsiteY10" fmla="*/ 1268104 h 1268104"/>
              <a:gd name="connsiteX11" fmla="*/ 76478 w 1112235"/>
              <a:gd name="connsiteY11" fmla="*/ 990136 h 1268104"/>
              <a:gd name="connsiteX12" fmla="*/ 78202 w 1112235"/>
              <a:gd name="connsiteY12" fmla="*/ 990136 h 1268104"/>
              <a:gd name="connsiteX13" fmla="*/ 67717 w 1112235"/>
              <a:gd name="connsiteY13" fmla="*/ 984082 h 1268104"/>
              <a:gd name="connsiteX14" fmla="*/ 0 w 1112235"/>
              <a:gd name="connsiteY14" fmla="*/ 875714 h 1268104"/>
              <a:gd name="connsiteX15" fmla="*/ 679 w 1112235"/>
              <a:gd name="connsiteY15" fmla="*/ 849902 h 1268104"/>
              <a:gd name="connsiteX16" fmla="*/ 679 w 1112235"/>
              <a:gd name="connsiteY16" fmla="*/ 416797 h 1268104"/>
              <a:gd name="connsiteX17" fmla="*/ 0 w 1112235"/>
              <a:gd name="connsiteY17" fmla="*/ 390998 h 1268104"/>
              <a:gd name="connsiteX18" fmla="*/ 67718 w 1112235"/>
              <a:gd name="connsiteY18" fmla="*/ 282630 h 1268104"/>
              <a:gd name="connsiteX19" fmla="*/ 174928 w 1112235"/>
              <a:gd name="connsiteY19" fmla="*/ 220732 h 126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2235" h="1268104">
                <a:moveTo>
                  <a:pt x="554603" y="0"/>
                </a:moveTo>
                <a:lnTo>
                  <a:pt x="1025893" y="273994"/>
                </a:lnTo>
                <a:lnTo>
                  <a:pt x="1044518" y="284747"/>
                </a:lnTo>
                <a:cubicBezTo>
                  <a:pt x="1085193" y="308230"/>
                  <a:pt x="1109156" y="349544"/>
                  <a:pt x="1112235" y="393115"/>
                </a:cubicBezTo>
                <a:lnTo>
                  <a:pt x="1111873" y="406870"/>
                </a:lnTo>
                <a:lnTo>
                  <a:pt x="1111873" y="861972"/>
                </a:lnTo>
                <a:lnTo>
                  <a:pt x="1112235" y="875715"/>
                </a:lnTo>
                <a:cubicBezTo>
                  <a:pt x="1109156" y="919286"/>
                  <a:pt x="1085193" y="960599"/>
                  <a:pt x="1044518" y="984083"/>
                </a:cubicBezTo>
                <a:lnTo>
                  <a:pt x="926680" y="1052117"/>
                </a:lnTo>
                <a:lnTo>
                  <a:pt x="926539" y="1051872"/>
                </a:lnTo>
                <a:lnTo>
                  <a:pt x="554603" y="1268104"/>
                </a:lnTo>
                <a:lnTo>
                  <a:pt x="76478" y="990136"/>
                </a:lnTo>
                <a:lnTo>
                  <a:pt x="78202" y="990136"/>
                </a:lnTo>
                <a:lnTo>
                  <a:pt x="67717" y="984082"/>
                </a:lnTo>
                <a:cubicBezTo>
                  <a:pt x="27042" y="960599"/>
                  <a:pt x="3079" y="919286"/>
                  <a:pt x="0" y="875714"/>
                </a:cubicBezTo>
                <a:lnTo>
                  <a:pt x="679" y="849902"/>
                </a:lnTo>
                <a:lnTo>
                  <a:pt x="679" y="416797"/>
                </a:lnTo>
                <a:lnTo>
                  <a:pt x="0" y="390998"/>
                </a:lnTo>
                <a:cubicBezTo>
                  <a:pt x="3079" y="347427"/>
                  <a:pt x="27043" y="306113"/>
                  <a:pt x="67718" y="282630"/>
                </a:cubicBezTo>
                <a:lnTo>
                  <a:pt x="174928" y="220732"/>
                </a:lnTo>
                <a:close/>
              </a:path>
            </a:pathLst>
          </a:custGeom>
          <a:solidFill>
            <a:srgbClr val="FB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FE394ED-4368-B44D-ADAA-3BB3DFEA94E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045600" y="3466009"/>
            <a:ext cx="1933200" cy="2267242"/>
          </a:xfrm>
          <a:solidFill>
            <a:schemeClr val="bg1"/>
          </a:solidFill>
        </p:spPr>
        <p:txBody>
          <a:bodyPr lIns="180000" tIns="90000" rIns="180000" bIns="270000">
            <a:noAutofit/>
          </a:bodyPr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EC8E231-4AD5-4847-936F-A921F7D3CB44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5130000" y="3466009"/>
            <a:ext cx="1933200" cy="2267242"/>
          </a:xfrm>
          <a:solidFill>
            <a:schemeClr val="bg1"/>
          </a:solidFill>
        </p:spPr>
        <p:txBody>
          <a:bodyPr lIns="180000" tIns="90000" rIns="180000" bIns="270000">
            <a:noAutofit/>
          </a:bodyPr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7A09190-C733-2947-B413-077042C0B35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7214400" y="3466009"/>
            <a:ext cx="1933200" cy="2267242"/>
          </a:xfrm>
          <a:solidFill>
            <a:schemeClr val="bg1"/>
          </a:solidFill>
        </p:spPr>
        <p:txBody>
          <a:bodyPr lIns="180000" tIns="90000" rIns="180000" bIns="270000">
            <a:noAutofit/>
          </a:bodyPr>
          <a:lstStyle>
            <a:lvl1pPr algn="ctr">
              <a:defRPr sz="1800" b="1"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3791DB3F-FB74-4743-AA6E-E0B60CE589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45222" y="2431916"/>
            <a:ext cx="933957" cy="667965"/>
          </a:xfrm>
        </p:spPr>
        <p:txBody>
          <a:bodyPr anchor="ctr">
            <a:noAutofit/>
          </a:bodyPr>
          <a:lstStyle>
            <a:lvl1pPr algn="ctr">
              <a:defRPr sz="450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1</a:t>
            </a:r>
            <a:endParaRPr lang="en-US" dirty="0"/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id="{2F72188C-9E59-C342-A218-DFC2B99F75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9622" y="2431916"/>
            <a:ext cx="933957" cy="667965"/>
          </a:xfrm>
        </p:spPr>
        <p:txBody>
          <a:bodyPr anchor="ctr">
            <a:noAutofit/>
          </a:bodyPr>
          <a:lstStyle>
            <a:lvl1pPr algn="ctr">
              <a:defRPr sz="450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2</a:t>
            </a:r>
            <a:endParaRPr lang="en-US" dirty="0"/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E9A3D790-DD16-8D4D-B1F5-584DAEA4E6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14022" y="2431916"/>
            <a:ext cx="933957" cy="667965"/>
          </a:xfrm>
        </p:spPr>
        <p:txBody>
          <a:bodyPr anchor="ctr">
            <a:noAutofit/>
          </a:bodyPr>
          <a:lstStyle>
            <a:lvl1pPr algn="ctr">
              <a:defRPr sz="450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4681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7619E4-976E-443A-A003-5A80432F1F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852E9C-DED8-4F3F-8351-0E2FC5B087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A1F21A-6F8C-4167-B488-EA394A08C6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492B98-3BA1-45E1-B1A6-D61607BAE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CC0937-0BE1-41B4-A037-7586EB6B1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486A5-0B8A-4D5E-B6E8-A9FCBE04BC5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9651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Section Header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81E83A1-4528-8E41-8058-412B574A29BC}"/>
              </a:ext>
            </a:extLst>
          </p:cNvPr>
          <p:cNvSpPr/>
          <p:nvPr userDrawn="1"/>
        </p:nvSpPr>
        <p:spPr>
          <a:xfrm>
            <a:off x="180000" y="180000"/>
            <a:ext cx="4550400" cy="6498000"/>
          </a:xfrm>
          <a:prstGeom prst="rect">
            <a:avLst/>
          </a:prstGeom>
          <a:solidFill>
            <a:srgbClr val="F7CE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2FDB45EF-1F9E-D04F-9DFD-BD3D6DE5355F}"/>
              </a:ext>
            </a:extLst>
          </p:cNvPr>
          <p:cNvSpPr/>
          <p:nvPr userDrawn="1"/>
        </p:nvSpPr>
        <p:spPr>
          <a:xfrm rot="5400000">
            <a:off x="-491106" y="2111482"/>
            <a:ext cx="1414654" cy="43244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D05B99-CEA0-914F-BBFE-AFA984CA6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4913" y="3355623"/>
            <a:ext cx="2487348" cy="1820333"/>
          </a:xfrm>
        </p:spPr>
        <p:txBody>
          <a:bodyPr anchor="t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55F7C821-BBE9-DA4F-8B88-5E757B0D73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093" y="1153450"/>
            <a:ext cx="3177168" cy="2275550"/>
          </a:xfrm>
        </p:spPr>
        <p:txBody>
          <a:bodyPr anchor="b">
            <a:noAutofit/>
          </a:bodyPr>
          <a:lstStyle>
            <a:lvl1pPr algn="l">
              <a:defRPr sz="14300" spc="-1000" baseline="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1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AB95F0-DA15-214C-882B-A827DC06E2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02516" y="959089"/>
            <a:ext cx="5052369" cy="722489"/>
          </a:xfrm>
        </p:spPr>
        <p:txBody>
          <a:bodyPr anchor="b"/>
          <a:lstStyle>
            <a:lvl1pPr marL="0" indent="0">
              <a:buNone/>
              <a:defRPr sz="1000" u="sng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35CFF5-8FB5-E74C-89EA-DE6560BE81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2516" y="2336170"/>
            <a:ext cx="5074709" cy="3459516"/>
          </a:xfrm>
        </p:spPr>
        <p:txBody>
          <a:bodyPr/>
          <a:lstStyle>
            <a:lvl1pPr>
              <a:defRPr sz="25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246B97-6615-9E46-8C94-04FA19546D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943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Section Header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A2824FE-210F-354A-B063-433EDC20E66B}"/>
              </a:ext>
            </a:extLst>
          </p:cNvPr>
          <p:cNvSpPr/>
          <p:nvPr userDrawn="1"/>
        </p:nvSpPr>
        <p:spPr>
          <a:xfrm>
            <a:off x="4730400" y="180000"/>
            <a:ext cx="7286399" cy="6498000"/>
          </a:xfrm>
          <a:prstGeom prst="rect">
            <a:avLst/>
          </a:prstGeom>
          <a:solidFill>
            <a:srgbClr val="F3FC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81E83A1-4528-8E41-8058-412B574A29BC}"/>
              </a:ext>
            </a:extLst>
          </p:cNvPr>
          <p:cNvSpPr/>
          <p:nvPr userDrawn="1"/>
        </p:nvSpPr>
        <p:spPr>
          <a:xfrm>
            <a:off x="180000" y="180000"/>
            <a:ext cx="4550400" cy="6498000"/>
          </a:xfrm>
          <a:prstGeom prst="rect">
            <a:avLst/>
          </a:prstGeom>
          <a:solidFill>
            <a:srgbClr val="D9F3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2FDB45EF-1F9E-D04F-9DFD-BD3D6DE5355F}"/>
              </a:ext>
            </a:extLst>
          </p:cNvPr>
          <p:cNvSpPr/>
          <p:nvPr userDrawn="1"/>
        </p:nvSpPr>
        <p:spPr>
          <a:xfrm rot="5400000">
            <a:off x="-491106" y="2111482"/>
            <a:ext cx="1414654" cy="43244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D05B99-CEA0-914F-BBFE-AFA984CA6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4913" y="3355623"/>
            <a:ext cx="2487348" cy="1820333"/>
          </a:xfrm>
        </p:spPr>
        <p:txBody>
          <a:bodyPr anchor="t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55F7C821-BBE9-DA4F-8B88-5E757B0D73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093" y="1153450"/>
            <a:ext cx="3177168" cy="2275550"/>
          </a:xfrm>
        </p:spPr>
        <p:txBody>
          <a:bodyPr anchor="b">
            <a:noAutofit/>
          </a:bodyPr>
          <a:lstStyle>
            <a:lvl1pPr algn="l">
              <a:defRPr sz="14300" spc="-1000" baseline="0">
                <a:solidFill>
                  <a:srgbClr val="B3E6F8"/>
                </a:solidFill>
              </a:defRPr>
            </a:lvl1pPr>
          </a:lstStyle>
          <a:p>
            <a:pPr lvl="0"/>
            <a:r>
              <a:rPr lang="en-GB" dirty="0"/>
              <a:t>02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AB95F0-DA15-214C-882B-A827DC06E2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02516" y="959089"/>
            <a:ext cx="5052369" cy="722489"/>
          </a:xfrm>
        </p:spPr>
        <p:txBody>
          <a:bodyPr anchor="b"/>
          <a:lstStyle>
            <a:lvl1pPr marL="0" indent="0">
              <a:buNone/>
              <a:defRPr sz="1000" u="sng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35CFF5-8FB5-E74C-89EA-DE6560BE81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02516" y="2336170"/>
            <a:ext cx="5074709" cy="3459516"/>
          </a:xfrm>
        </p:spPr>
        <p:txBody>
          <a:bodyPr/>
          <a:lstStyle>
            <a:lvl1pPr>
              <a:defRPr sz="25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246B97-6615-9E46-8C94-04FA19546D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914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Section Header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4A8AFAC8-F2EE-594E-B212-2C3DA40B43D4}"/>
              </a:ext>
            </a:extLst>
          </p:cNvPr>
          <p:cNvSpPr/>
          <p:nvPr userDrawn="1"/>
        </p:nvSpPr>
        <p:spPr>
          <a:xfrm>
            <a:off x="4730400" y="180000"/>
            <a:ext cx="7282800" cy="6498000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81E83A1-4528-8E41-8058-412B574A29BC}"/>
              </a:ext>
            </a:extLst>
          </p:cNvPr>
          <p:cNvSpPr/>
          <p:nvPr userDrawn="1"/>
        </p:nvSpPr>
        <p:spPr>
          <a:xfrm>
            <a:off x="180000" y="180000"/>
            <a:ext cx="4550400" cy="6498000"/>
          </a:xfrm>
          <a:prstGeom prst="rect">
            <a:avLst/>
          </a:prstGeom>
          <a:solidFill>
            <a:srgbClr val="F7CE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riangle 4">
            <a:extLst>
              <a:ext uri="{FF2B5EF4-FFF2-40B4-BE49-F238E27FC236}">
                <a16:creationId xmlns:a16="http://schemas.microsoft.com/office/drawing/2014/main" id="{2FDB45EF-1F9E-D04F-9DFD-BD3D6DE5355F}"/>
              </a:ext>
            </a:extLst>
          </p:cNvPr>
          <p:cNvSpPr/>
          <p:nvPr userDrawn="1"/>
        </p:nvSpPr>
        <p:spPr>
          <a:xfrm rot="5400000">
            <a:off x="-491106" y="2111482"/>
            <a:ext cx="1414654" cy="43244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55F7C821-BBE9-DA4F-8B88-5E757B0D73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093" y="1153450"/>
            <a:ext cx="3177168" cy="2275550"/>
          </a:xfrm>
        </p:spPr>
        <p:txBody>
          <a:bodyPr anchor="b">
            <a:noAutofit/>
          </a:bodyPr>
          <a:lstStyle>
            <a:lvl1pPr algn="l">
              <a:defRPr sz="14300" spc="-1000" baseline="0">
                <a:solidFill>
                  <a:srgbClr val="F3B6CB"/>
                </a:solidFill>
              </a:defRPr>
            </a:lvl1pPr>
          </a:lstStyle>
          <a:p>
            <a:pPr lvl="0"/>
            <a:r>
              <a:rPr lang="en-GB" dirty="0"/>
              <a:t>03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E98FDA2-88EF-754F-8AFE-E5AE058F03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8859" y="3370885"/>
            <a:ext cx="3490400" cy="3053978"/>
          </a:xfrm>
        </p:spPr>
        <p:txBody>
          <a:bodyPr/>
          <a:lstStyle>
            <a:lvl1pPr>
              <a:defRPr sz="2500" b="1">
                <a:solidFill>
                  <a:schemeClr val="accent2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D6DE23C-EE8E-C84E-9D6C-40E54ED041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7268" y="804237"/>
            <a:ext cx="5052369" cy="722489"/>
          </a:xfrm>
        </p:spPr>
        <p:txBody>
          <a:bodyPr anchor="b"/>
          <a:lstStyle>
            <a:lvl1pPr marL="0" indent="0">
              <a:buNone/>
              <a:defRPr sz="1000" u="sng">
                <a:solidFill>
                  <a:srgbClr val="EA85A8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9A38E88-DB18-E44E-8F06-6CC07638CD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26767" y="2139117"/>
            <a:ext cx="4503823" cy="462208"/>
          </a:xfrm>
          <a:solidFill>
            <a:schemeClr val="bg1"/>
          </a:solidFill>
        </p:spPr>
        <p:txBody>
          <a:bodyPr tIns="125999" bIns="125999" anchor="ctr">
            <a:spAutoFit/>
          </a:bodyPr>
          <a:lstStyle>
            <a:lvl1pPr>
              <a:defRPr sz="1500"/>
            </a:lvl1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6CA88FF-16C9-534B-9BF7-010B75D54A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61F0B99-681C-2D48-B6EC-1744DB8E1A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26767" y="2714402"/>
            <a:ext cx="4503823" cy="462208"/>
          </a:xfrm>
          <a:solidFill>
            <a:schemeClr val="bg1"/>
          </a:solidFill>
        </p:spPr>
        <p:txBody>
          <a:bodyPr tIns="125999" bIns="125999" anchor="ctr">
            <a:spAutoFit/>
          </a:bodyPr>
          <a:lstStyle>
            <a:lvl1pPr>
              <a:defRPr sz="1500"/>
            </a:lvl1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2D21F45D-2799-3C4B-B575-95BBFBC6A0D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626767" y="3289687"/>
            <a:ext cx="4503823" cy="462208"/>
          </a:xfrm>
          <a:solidFill>
            <a:schemeClr val="bg1"/>
          </a:solidFill>
        </p:spPr>
        <p:txBody>
          <a:bodyPr tIns="125999" bIns="125999" anchor="ctr">
            <a:spAutoFit/>
          </a:bodyPr>
          <a:lstStyle>
            <a:lvl1pPr>
              <a:defRPr sz="1500"/>
            </a:lvl1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B3DA079-511A-1942-A68A-E0FDC3EBBF5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26767" y="3864972"/>
            <a:ext cx="4503823" cy="462208"/>
          </a:xfrm>
          <a:solidFill>
            <a:schemeClr val="bg1"/>
          </a:solidFill>
        </p:spPr>
        <p:txBody>
          <a:bodyPr tIns="125999" bIns="125999" anchor="ctr">
            <a:spAutoFit/>
          </a:bodyPr>
          <a:lstStyle>
            <a:lvl1pPr>
              <a:defRPr sz="1500"/>
            </a:lvl1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D420381-92E2-6147-97B0-79B07E096E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626767" y="4440257"/>
            <a:ext cx="4503823" cy="462208"/>
          </a:xfrm>
          <a:solidFill>
            <a:schemeClr val="bg1"/>
          </a:solidFill>
        </p:spPr>
        <p:txBody>
          <a:bodyPr tIns="125999" bIns="125999" anchor="ctr">
            <a:spAutoFit/>
          </a:bodyPr>
          <a:lstStyle>
            <a:lvl1pPr>
              <a:defRPr sz="1500"/>
            </a:lvl1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1F24359E-43CB-EB45-81F9-8BA99BEB2F2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626767" y="5015540"/>
            <a:ext cx="4503823" cy="462208"/>
          </a:xfrm>
          <a:solidFill>
            <a:schemeClr val="bg1"/>
          </a:solidFill>
        </p:spPr>
        <p:txBody>
          <a:bodyPr tIns="125999" bIns="125999" anchor="ctr">
            <a:spAutoFit/>
          </a:bodyPr>
          <a:lstStyle>
            <a:lvl1pPr>
              <a:defRPr sz="1500"/>
            </a:lvl1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874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Title and Conten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AAE99F4-DD23-F14B-94F1-3C4D73E7E915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91593C-8843-C140-999D-040A493CC3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94DB6F-3A3C-464F-8524-C5503F897E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12400"/>
            <a:ext cx="9955696" cy="3203575"/>
          </a:xfrm>
        </p:spPr>
        <p:txBody>
          <a:bodyPr/>
          <a:lstStyle>
            <a:lvl1pPr>
              <a:spcAft>
                <a:spcPts val="800"/>
              </a:spcAft>
              <a:defRPr sz="25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50FEE41-593B-2445-A606-8A549C3B1755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38200" y="1519200"/>
            <a:ext cx="5585528" cy="722489"/>
          </a:xfrm>
        </p:spPr>
        <p:txBody>
          <a:bodyPr anchor="b"/>
          <a:lstStyle>
            <a:lvl1pPr marL="0" indent="0">
              <a:buNone/>
              <a:defRPr sz="1000" u="sng">
                <a:solidFill>
                  <a:srgbClr val="EA85A8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02891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SA - Comparis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0A0140B-6313-9C4C-9FCD-75EF81652F62}"/>
              </a:ext>
            </a:extLst>
          </p:cNvPr>
          <p:cNvSpPr/>
          <p:nvPr userDrawn="1"/>
        </p:nvSpPr>
        <p:spPr>
          <a:xfrm>
            <a:off x="180000" y="180000"/>
            <a:ext cx="11833200" cy="649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6D302C-B5AF-9C48-8638-A0D94449D4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066400" y="508"/>
            <a:ext cx="685800" cy="93878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3245FD-B66E-FF49-B41B-AB29B85703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526247"/>
            <a:ext cx="5157787" cy="823912"/>
          </a:xfrm>
        </p:spPr>
        <p:txBody>
          <a:bodyPr anchor="b"/>
          <a:lstStyle>
            <a:lvl1pPr marL="0" indent="0">
              <a:buNone/>
              <a:defRPr sz="25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676804-92BE-DA4A-B3A2-8444183BA6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3350159"/>
            <a:ext cx="5157787" cy="302413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98F7F6-887B-1244-A0E6-8E948AEE32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526247"/>
            <a:ext cx="5183188" cy="823912"/>
          </a:xfrm>
        </p:spPr>
        <p:txBody>
          <a:bodyPr anchor="b"/>
          <a:lstStyle>
            <a:lvl1pPr marL="0" indent="0">
              <a:buNone/>
              <a:defRPr sz="25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AD450F-C994-3346-9D42-6D94DD70752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3350159"/>
            <a:ext cx="5183188" cy="302413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DA128C9-8AA5-2149-8C9C-C2232263914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38200" y="1520501"/>
            <a:ext cx="5585528" cy="722489"/>
          </a:xfrm>
        </p:spPr>
        <p:txBody>
          <a:bodyPr anchor="b"/>
          <a:lstStyle>
            <a:lvl1pPr marL="0" indent="0">
              <a:buNone/>
              <a:defRPr sz="1000" u="sng">
                <a:solidFill>
                  <a:srgbClr val="EA85A8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3457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540D25-60C3-F247-B113-CD5721BE3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46127-6792-3E48-B47F-7599AC25F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31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52" r:id="rId3"/>
    <p:sldLayoutId id="2147483674" r:id="rId4"/>
    <p:sldLayoutId id="2147483651" r:id="rId5"/>
    <p:sldLayoutId id="2147483673" r:id="rId6"/>
    <p:sldLayoutId id="2147483669" r:id="rId7"/>
    <p:sldLayoutId id="2147483650" r:id="rId8"/>
    <p:sldLayoutId id="2147483653" r:id="rId9"/>
    <p:sldLayoutId id="2147483654" r:id="rId10"/>
    <p:sldLayoutId id="2147483662" r:id="rId11"/>
    <p:sldLayoutId id="2147483656" r:id="rId12"/>
    <p:sldLayoutId id="2147483657" r:id="rId13"/>
    <p:sldLayoutId id="2147483660" r:id="rId14"/>
    <p:sldLayoutId id="2147483661" r:id="rId15"/>
    <p:sldLayoutId id="2147483663" r:id="rId16"/>
    <p:sldLayoutId id="2147483671" r:id="rId17"/>
    <p:sldLayoutId id="2147483666" r:id="rId18"/>
    <p:sldLayoutId id="2147483664" r:id="rId19"/>
    <p:sldLayoutId id="2147483655" r:id="rId20"/>
    <p:sldLayoutId id="2147483665" r:id="rId21"/>
    <p:sldLayoutId id="2147483667" r:id="rId22"/>
    <p:sldLayoutId id="2147483668" r:id="rId23"/>
    <p:sldLayoutId id="2147483670" r:id="rId2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20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spcAft>
          <a:spcPts val="800"/>
        </a:spcAft>
        <a:buFontTx/>
        <a:buNone/>
        <a:defRPr sz="12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500"/>
        </a:spcBef>
        <a:buFontTx/>
        <a:buNone/>
        <a:defRPr sz="12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171450" indent="-17145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b="1" kern="1200">
          <a:solidFill>
            <a:schemeClr val="accent1"/>
          </a:solidFill>
          <a:latin typeface="+mn-lt"/>
          <a:ea typeface="+mn-ea"/>
          <a:cs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500"/>
        </a:spcBef>
        <a:buFontTx/>
        <a:buNone/>
        <a:defRPr sz="12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10000"/>
        </a:lnSpc>
        <a:spcBef>
          <a:spcPts val="500"/>
        </a:spcBef>
        <a:buFontTx/>
        <a:buNone/>
        <a:defRPr sz="12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138C903-4113-794F-8C45-F509828BDC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alphaModFix amt="5000"/>
          </a:blip>
          <a:srcRect l="46264"/>
          <a:stretch/>
        </p:blipFill>
        <p:spPr>
          <a:xfrm>
            <a:off x="695400" y="-1683568"/>
            <a:ext cx="13794615" cy="9937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702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EE84BA-F5E7-4891-BADC-354AFC1705DE}"/>
              </a:ext>
            </a:extLst>
          </p:cNvPr>
          <p:cNvSpPr/>
          <p:nvPr userDrawn="1"/>
        </p:nvSpPr>
        <p:spPr>
          <a:xfrm>
            <a:off x="-168696" y="-171400"/>
            <a:ext cx="864021" cy="7272808"/>
          </a:xfrm>
          <a:prstGeom prst="rect">
            <a:avLst/>
          </a:prstGeom>
          <a:gradFill flip="none" rotWithShape="1">
            <a:gsLst>
              <a:gs pos="1000">
                <a:srgbClr val="8D3F98"/>
              </a:gs>
              <a:gs pos="100000">
                <a:srgbClr val="F0514F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DDFF47-55DA-4709-8B36-3ADBED5CE1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1424" y="5009764"/>
            <a:ext cx="10756776" cy="18330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55092383-53FD-4CAB-8EE9-229B43FF1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422" y="3229318"/>
            <a:ext cx="1030857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068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useo Sans 900" panose="020000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useo Sans 700" panose="020000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picture containing person, indoor, person&#10;&#10;Description automatically generated">
            <a:extLst>
              <a:ext uri="{FF2B5EF4-FFF2-40B4-BE49-F238E27FC236}">
                <a16:creationId xmlns:a16="http://schemas.microsoft.com/office/drawing/2014/main" id="{97A97636-C8F0-432A-9D9C-29E9F730B85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9859" r="9859"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2200A4F-F025-42F3-A13F-E5FABA2255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4183" y="832207"/>
            <a:ext cx="4557008" cy="3431567"/>
          </a:xfrm>
        </p:spPr>
        <p:txBody>
          <a:bodyPr anchor="t"/>
          <a:lstStyle/>
          <a:p>
            <a:r>
              <a:rPr lang="en-GB" sz="5400" dirty="0"/>
              <a:t>Risk Management Toolkit</a:t>
            </a:r>
            <a:br>
              <a:rPr lang="en-GB" sz="5400" dirty="0"/>
            </a:br>
            <a:br>
              <a:rPr lang="en-GB" sz="4800" dirty="0"/>
            </a:br>
            <a:endParaRPr lang="en-GB" sz="5400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B44D324-33D2-4383-AEAC-9288C00E62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7747" y="4748375"/>
            <a:ext cx="4724645" cy="1752343"/>
          </a:xfrm>
        </p:spPr>
        <p:txBody>
          <a:bodyPr/>
          <a:lstStyle/>
          <a:p>
            <a:r>
              <a:rPr lang="en-GB" sz="3600" dirty="0">
                <a:solidFill>
                  <a:srgbClr val="D60B52"/>
                </a:solidFill>
              </a:rPr>
              <a:t>TSA 2022</a:t>
            </a:r>
          </a:p>
        </p:txBody>
      </p:sp>
    </p:spTree>
    <p:extLst>
      <p:ext uri="{BB962C8B-B14F-4D97-AF65-F5344CB8AC3E}">
        <p14:creationId xmlns:p14="http://schemas.microsoft.com/office/powerpoint/2010/main" val="8901396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2D421378-0247-473E-8B17-D0B9EC52E46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31309609"/>
              </p:ext>
            </p:extLst>
          </p:nvPr>
        </p:nvGraphicFramePr>
        <p:xfrm>
          <a:off x="572124" y="1045435"/>
          <a:ext cx="11047752" cy="55353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82584">
                  <a:extLst>
                    <a:ext uri="{9D8B030D-6E8A-4147-A177-3AD203B41FA5}">
                      <a16:colId xmlns:a16="http://schemas.microsoft.com/office/drawing/2014/main" val="532000610"/>
                    </a:ext>
                  </a:extLst>
                </a:gridCol>
                <a:gridCol w="3397988">
                  <a:extLst>
                    <a:ext uri="{9D8B030D-6E8A-4147-A177-3AD203B41FA5}">
                      <a16:colId xmlns:a16="http://schemas.microsoft.com/office/drawing/2014/main" val="425463918"/>
                    </a:ext>
                  </a:extLst>
                </a:gridCol>
                <a:gridCol w="3967180">
                  <a:extLst>
                    <a:ext uri="{9D8B030D-6E8A-4147-A177-3AD203B41FA5}">
                      <a16:colId xmlns:a16="http://schemas.microsoft.com/office/drawing/2014/main" val="2862436551"/>
                    </a:ext>
                  </a:extLst>
                </a:gridCol>
              </a:tblGrid>
              <a:tr h="249864">
                <a:tc rowSpan="10">
                  <a:txBody>
                    <a:bodyPr/>
                    <a:lstStyle/>
                    <a:p>
                      <a:pPr algn="ctr"/>
                      <a:r>
                        <a:rPr lang="en-GB" sz="3600" dirty="0">
                          <a:effectLst/>
                        </a:rPr>
                        <a:t>Internal</a:t>
                      </a:r>
                      <a:endParaRPr lang="en-GB" sz="3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chemeClr val="tx1"/>
                          </a:solidFill>
                          <a:effectLst/>
                        </a:rPr>
                        <a:t>People</a:t>
                      </a:r>
                      <a:endParaRPr lang="en-GB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tx1"/>
                          </a:solidFill>
                          <a:effectLst/>
                        </a:rPr>
                        <a:t>Inappropriate level of resources</a:t>
                      </a:r>
                      <a:endParaRPr lang="en-GB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56483"/>
                  </a:ext>
                </a:extLst>
              </a:tr>
              <a:tr h="24986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Inadequately skilled people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2837679263"/>
                  </a:ext>
                </a:extLst>
              </a:tr>
              <a:tr h="24986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Inadequately managed people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1580879196"/>
                  </a:ext>
                </a:extLst>
              </a:tr>
              <a:tr h="24986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Intentional act</a:t>
                      </a:r>
                    </a:p>
                    <a:p>
                      <a:pPr algn="ctr"/>
                      <a:endParaRPr lang="en-GB" sz="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2704689532"/>
                  </a:ext>
                </a:extLst>
              </a:tr>
              <a:tr h="39561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Unintentional acts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3870332318"/>
                  </a:ext>
                </a:extLst>
              </a:tr>
              <a:tr h="36534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GB" sz="2000" b="1" dirty="0">
                          <a:effectLst/>
                        </a:rPr>
                        <a:t>Process</a:t>
                      </a:r>
                      <a:endParaRPr lang="en-GB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Inadequate process or control design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738075593"/>
                  </a:ext>
                </a:extLst>
              </a:tr>
              <a:tr h="24986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Ineffective process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1057433943"/>
                  </a:ext>
                </a:extLst>
              </a:tr>
              <a:tr h="49972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Lack of process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528154079"/>
                  </a:ext>
                </a:extLst>
              </a:tr>
              <a:tr h="24986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2000" b="1" dirty="0">
                          <a:effectLst/>
                        </a:rPr>
                        <a:t>Systems</a:t>
                      </a:r>
                      <a:endParaRPr lang="en-GB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Inadequately designed systems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3124696059"/>
                  </a:ext>
                </a:extLst>
              </a:tr>
              <a:tr h="42810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Inadequately maintained systems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382140896"/>
                  </a:ext>
                </a:extLst>
              </a:tr>
              <a:tr h="249864">
                <a:tc rowSpan="7" gridSpan="2">
                  <a:txBody>
                    <a:bodyPr/>
                    <a:lstStyle/>
                    <a:p>
                      <a:pPr algn="ctr"/>
                      <a:r>
                        <a:rPr lang="en-GB" sz="3600" dirty="0">
                          <a:effectLst/>
                        </a:rPr>
                        <a:t>External Causes</a:t>
                      </a:r>
                      <a:endParaRPr lang="en-GB" sz="3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tc rowSpan="7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Natural environment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3390617084"/>
                  </a:ext>
                </a:extLst>
              </a:tr>
              <a:tr h="249864">
                <a:tc gridSpan="2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Technological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2213597182"/>
                  </a:ext>
                </a:extLst>
              </a:tr>
              <a:tr h="249864">
                <a:tc gridSpan="2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Cultural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1903464239"/>
                  </a:ext>
                </a:extLst>
              </a:tr>
              <a:tr h="249864">
                <a:tc gridSpan="2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effectLst/>
                        </a:rPr>
                        <a:t>Regulatory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3045685976"/>
                  </a:ext>
                </a:extLst>
              </a:tr>
              <a:tr h="249864">
                <a:tc gridSpan="2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lier</a:t>
                      </a:r>
                      <a:endParaRPr kumimoji="0" lang="en-GB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4261812347"/>
                  </a:ext>
                </a:extLst>
              </a:tr>
              <a:tr h="249864">
                <a:tc gridSpan="2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effectLst/>
                        </a:rPr>
                        <a:t>Customer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4156287972"/>
                  </a:ext>
                </a:extLst>
              </a:tr>
              <a:tr h="463286">
                <a:tc gridSpan="2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effectLst/>
                        </a:rPr>
                        <a:t>Third party distribution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044" marR="45044" marT="0" marB="0" anchor="ctr"/>
                </a:tc>
                <a:extLst>
                  <a:ext uri="{0D108BD9-81ED-4DB2-BD59-A6C34878D82A}">
                    <a16:rowId xmlns:a16="http://schemas.microsoft.com/office/drawing/2014/main" val="1018117897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66638CE-3336-4DD0-B56B-0E9174CD9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706" y="116123"/>
            <a:ext cx="10454952" cy="929312"/>
          </a:xfrm>
        </p:spPr>
        <p:txBody>
          <a:bodyPr/>
          <a:lstStyle/>
          <a:p>
            <a:r>
              <a:rPr lang="en-GB" dirty="0">
                <a:solidFill>
                  <a:srgbClr val="D60B52"/>
                </a:solidFill>
              </a:rPr>
              <a:t>Potential causes of risk</a:t>
            </a:r>
          </a:p>
        </p:txBody>
      </p:sp>
    </p:spTree>
    <p:extLst>
      <p:ext uri="{BB962C8B-B14F-4D97-AF65-F5344CB8AC3E}">
        <p14:creationId xmlns:p14="http://schemas.microsoft.com/office/powerpoint/2010/main" val="2546136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1CC712-6BE4-C22E-B450-4AA7FC7F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38C26E2-2E43-8D7F-A0F1-03F9CC8E66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55244" y="1569545"/>
            <a:ext cx="6234005" cy="3459516"/>
          </a:xfrm>
        </p:spPr>
        <p:txBody>
          <a:bodyPr/>
          <a:lstStyle/>
          <a:p>
            <a:r>
              <a:rPr lang="en-GB" sz="6600" dirty="0"/>
              <a:t>TEC Sector Risks</a:t>
            </a:r>
          </a:p>
          <a:p>
            <a:r>
              <a:rPr lang="en-GB" sz="4400" dirty="0"/>
              <a:t>2021 survey results</a:t>
            </a:r>
          </a:p>
        </p:txBody>
      </p:sp>
    </p:spTree>
    <p:extLst>
      <p:ext uri="{BB962C8B-B14F-4D97-AF65-F5344CB8AC3E}">
        <p14:creationId xmlns:p14="http://schemas.microsoft.com/office/powerpoint/2010/main" val="1046312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3890DD-99A1-1B4C-B670-19327DD52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417" y="618529"/>
            <a:ext cx="10460032" cy="1820333"/>
          </a:xfrm>
        </p:spPr>
        <p:txBody>
          <a:bodyPr/>
          <a:lstStyle/>
          <a:p>
            <a:r>
              <a:rPr lang="en-US" sz="3600" b="0" dirty="0">
                <a:solidFill>
                  <a:srgbClr val="D60B52"/>
                </a:solidFill>
              </a:rPr>
              <a:t>2021 Risk Survey   	Short-Term Risks</a:t>
            </a:r>
            <a:br>
              <a:rPr lang="en-US" sz="4000" dirty="0">
                <a:solidFill>
                  <a:srgbClr val="D60B52"/>
                </a:solidFill>
              </a:rPr>
            </a:br>
            <a:endParaRPr lang="en-US" sz="4000" b="0" dirty="0">
              <a:solidFill>
                <a:srgbClr val="D60B52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BA193F-0C56-4B81-A16D-28ED5930B0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417" y="1958713"/>
            <a:ext cx="11305536" cy="373296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6B6CB32-CD0A-4019-BC79-C1892C4CE098}"/>
              </a:ext>
            </a:extLst>
          </p:cNvPr>
          <p:cNvSpPr txBox="1"/>
          <p:nvPr/>
        </p:nvSpPr>
        <p:spPr>
          <a:xfrm>
            <a:off x="5129151" y="1166327"/>
            <a:ext cx="25955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dirty="0">
                <a:solidFill>
                  <a:schemeClr val="bg2">
                    <a:lumMod val="25000"/>
                  </a:schemeClr>
                </a:solidFill>
              </a:rPr>
              <a:t>1 to 2 years</a:t>
            </a:r>
          </a:p>
        </p:txBody>
      </p:sp>
    </p:spTree>
    <p:extLst>
      <p:ext uri="{BB962C8B-B14F-4D97-AF65-F5344CB8AC3E}">
        <p14:creationId xmlns:p14="http://schemas.microsoft.com/office/powerpoint/2010/main" val="3136833398"/>
      </p:ext>
    </p:extLst>
  </p:cSld>
  <p:clrMapOvr>
    <a:masterClrMapping/>
  </p:clrMapOvr>
  <p:transition spd="med">
    <p:pul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8223F15-749A-46B9-B656-454B3131FAC7}"/>
              </a:ext>
            </a:extLst>
          </p:cNvPr>
          <p:cNvSpPr/>
          <p:nvPr/>
        </p:nvSpPr>
        <p:spPr>
          <a:xfrm>
            <a:off x="625148" y="1818968"/>
            <a:ext cx="11364687" cy="4618222"/>
          </a:xfrm>
          <a:prstGeom prst="rect">
            <a:avLst/>
          </a:prstGeom>
          <a:solidFill>
            <a:srgbClr val="B3E6F8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3890DD-99A1-1B4C-B670-19327DD52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48" y="651446"/>
            <a:ext cx="9582959" cy="869327"/>
          </a:xfrm>
        </p:spPr>
        <p:txBody>
          <a:bodyPr/>
          <a:lstStyle/>
          <a:p>
            <a:r>
              <a:rPr lang="en-US" sz="3600" b="0" dirty="0">
                <a:solidFill>
                  <a:srgbClr val="D60B52"/>
                </a:solidFill>
              </a:rPr>
              <a:t>Short-Term Risks (1-2 years)</a:t>
            </a:r>
            <a:br>
              <a:rPr lang="en-US" sz="3600" dirty="0">
                <a:solidFill>
                  <a:srgbClr val="D60B52"/>
                </a:solidFill>
              </a:rPr>
            </a:br>
            <a:endParaRPr lang="en-US" sz="3600" b="0" dirty="0">
              <a:solidFill>
                <a:srgbClr val="D60B5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6D88C7-6A3C-4CC0-8E64-29C75DE47B10}"/>
              </a:ext>
            </a:extLst>
          </p:cNvPr>
          <p:cNvSpPr txBox="1"/>
          <p:nvPr/>
        </p:nvSpPr>
        <p:spPr>
          <a:xfrm>
            <a:off x="715310" y="1937304"/>
            <a:ext cx="370920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GB" sz="2800" b="1" dirty="0">
                <a:solidFill>
                  <a:srgbClr val="D60B52"/>
                </a:solidFill>
              </a:rPr>
              <a:t>Interoperability</a:t>
            </a:r>
            <a:r>
              <a:rPr lang="en-GB" sz="2800" dirty="0"/>
              <a:t> </a:t>
            </a:r>
          </a:p>
          <a:p>
            <a:pPr lvl="1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of TEC services with health and care</a:t>
            </a:r>
          </a:p>
          <a:p>
            <a:pPr lvl="1"/>
            <a:endParaRPr lang="en-GB" sz="2400" b="1" dirty="0">
              <a:solidFill>
                <a:schemeClr val="bg2">
                  <a:lumMod val="25000"/>
                </a:schemeClr>
              </a:solidFill>
            </a:endParaRPr>
          </a:p>
          <a:p>
            <a:endParaRPr lang="en-GB" sz="3200" b="1" dirty="0">
              <a:solidFill>
                <a:srgbClr val="D60B5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AB0D43-0794-4295-BA0E-CCBFEF3787FF}"/>
              </a:ext>
            </a:extLst>
          </p:cNvPr>
          <p:cNvSpPr txBox="1"/>
          <p:nvPr/>
        </p:nvSpPr>
        <p:spPr>
          <a:xfrm>
            <a:off x="5028150" y="1976169"/>
            <a:ext cx="68197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ork has focused on interoperability WITHIN telecare systems, and not addressed the wider issues of interoperability and integration of TEC services across health and social care to the same degre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C4CFE4-4445-3819-ACE9-F726CE43A69D}"/>
              </a:ext>
            </a:extLst>
          </p:cNvPr>
          <p:cNvSpPr txBox="1"/>
          <p:nvPr/>
        </p:nvSpPr>
        <p:spPr>
          <a:xfrm>
            <a:off x="715309" y="3523606"/>
            <a:ext cx="397467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D60B52"/>
                </a:solidFill>
              </a:rPr>
              <a:t>2. Digital Propositions </a:t>
            </a:r>
          </a:p>
          <a:p>
            <a:pPr lvl="1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limited, costly, </a:t>
            </a:r>
          </a:p>
          <a:p>
            <a:pPr lvl="1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unreliable?</a:t>
            </a:r>
            <a:endParaRPr lang="en-GB" sz="2400" b="1" dirty="0">
              <a:solidFill>
                <a:srgbClr val="D60B5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024D87-E7C8-C544-5E7B-75467CE8FAC5}"/>
              </a:ext>
            </a:extLst>
          </p:cNvPr>
          <p:cNvSpPr txBox="1"/>
          <p:nvPr/>
        </p:nvSpPr>
        <p:spPr>
          <a:xfrm>
            <a:off x="5028149" y="3597775"/>
            <a:ext cx="68197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‘Digital’ features heavily in the risk list, despite great efforts. A need for more focus and urgency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C7C28B-41B5-906D-CD15-05541FFF4A8E}"/>
              </a:ext>
            </a:extLst>
          </p:cNvPr>
          <p:cNvSpPr txBox="1"/>
          <p:nvPr/>
        </p:nvSpPr>
        <p:spPr>
          <a:xfrm>
            <a:off x="715308" y="4955307"/>
            <a:ext cx="3827194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D60B52"/>
                </a:solidFill>
              </a:rPr>
              <a:t>3. The “3Ps” emerge</a:t>
            </a:r>
          </a:p>
          <a:p>
            <a:pPr lvl="1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Personalized, Preventative, Proactiv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9E64FE-DDD1-491E-C9E3-678E03558FB0}"/>
              </a:ext>
            </a:extLst>
          </p:cNvPr>
          <p:cNvSpPr txBox="1"/>
          <p:nvPr/>
        </p:nvSpPr>
        <p:spPr>
          <a:xfrm>
            <a:off x="4945955" y="4955307"/>
            <a:ext cx="68197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rsonalized, Preventative and Proactive care models have come to the fore during COVID-19.</a:t>
            </a:r>
          </a:p>
          <a:p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e new care models supported with adequate guidance &amp; standards? </a:t>
            </a:r>
          </a:p>
        </p:txBody>
      </p:sp>
    </p:spTree>
    <p:extLst>
      <p:ext uri="{BB962C8B-B14F-4D97-AF65-F5344CB8AC3E}">
        <p14:creationId xmlns:p14="http://schemas.microsoft.com/office/powerpoint/2010/main" val="2604134652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4" grpId="0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ADB9122-6581-40E3-A9E8-E6250E061964}"/>
              </a:ext>
            </a:extLst>
          </p:cNvPr>
          <p:cNvSpPr txBox="1">
            <a:spLocks/>
          </p:cNvSpPr>
          <p:nvPr/>
        </p:nvSpPr>
        <p:spPr>
          <a:xfrm>
            <a:off x="625152" y="613861"/>
            <a:ext cx="10193700" cy="18203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600" b="0" dirty="0">
                <a:solidFill>
                  <a:srgbClr val="D60B52"/>
                </a:solidFill>
              </a:rPr>
              <a:t>2021 Risk Survey   	Emergent Risks</a:t>
            </a:r>
            <a:br>
              <a:rPr lang="en-US" sz="4000" dirty="0">
                <a:solidFill>
                  <a:srgbClr val="7030A0"/>
                </a:solidFill>
              </a:rPr>
            </a:br>
            <a:endParaRPr lang="en-US" sz="4000" b="0" dirty="0">
              <a:solidFill>
                <a:srgbClr val="7030A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2D3704-C99B-4DC8-89BC-27DB4770CCFC}"/>
              </a:ext>
            </a:extLst>
          </p:cNvPr>
          <p:cNvSpPr txBox="1"/>
          <p:nvPr/>
        </p:nvSpPr>
        <p:spPr>
          <a:xfrm>
            <a:off x="5216617" y="1231639"/>
            <a:ext cx="232467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>
                <a:solidFill>
                  <a:schemeClr val="bg2">
                    <a:lumMod val="25000"/>
                  </a:schemeClr>
                </a:solidFill>
              </a:rPr>
              <a:t>2 to 5 year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51E734-200D-41FA-9A37-463F861403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152" y="1816414"/>
            <a:ext cx="11199129" cy="369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066439"/>
      </p:ext>
    </p:extLst>
  </p:cSld>
  <p:clrMapOvr>
    <a:masterClrMapping/>
  </p:clrMapOvr>
  <p:transition spd="med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BD79D27-8693-4B77-886A-1B02EA65AB11}"/>
              </a:ext>
            </a:extLst>
          </p:cNvPr>
          <p:cNvSpPr/>
          <p:nvPr/>
        </p:nvSpPr>
        <p:spPr>
          <a:xfrm>
            <a:off x="625150" y="1746226"/>
            <a:ext cx="11364687" cy="47881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BC13971-7959-4F38-8646-522436D0D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50" y="656778"/>
            <a:ext cx="9405677" cy="869327"/>
          </a:xfrm>
        </p:spPr>
        <p:txBody>
          <a:bodyPr/>
          <a:lstStyle/>
          <a:p>
            <a:r>
              <a:rPr lang="en-US" sz="3600" b="0" dirty="0">
                <a:solidFill>
                  <a:srgbClr val="7030A0"/>
                </a:solidFill>
              </a:rPr>
              <a:t>Emergent Risks (2-5 year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350D10-8A7D-489E-8C63-3D1ED06F4AF2}"/>
              </a:ext>
            </a:extLst>
          </p:cNvPr>
          <p:cNvSpPr txBox="1"/>
          <p:nvPr/>
        </p:nvSpPr>
        <p:spPr>
          <a:xfrm>
            <a:off x="715312" y="1875550"/>
            <a:ext cx="366004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D60B52"/>
                </a:solidFill>
              </a:rPr>
              <a:t>4. Co-production</a:t>
            </a:r>
          </a:p>
          <a:p>
            <a:pPr lvl="1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with end-users, families and frontline care work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BBFDAC-4E27-4395-96A8-CC8A378C0208}"/>
              </a:ext>
            </a:extLst>
          </p:cNvPr>
          <p:cNvSpPr txBox="1"/>
          <p:nvPr/>
        </p:nvSpPr>
        <p:spPr>
          <a:xfrm>
            <a:off x="4937990" y="1910025"/>
            <a:ext cx="72104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p of the list of emergent risks – will TEC services continue to be purchased if they are not viewed as relevant and co-produced?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CDC1F6-6FBB-E423-7C93-89CEDD0EB94C}"/>
              </a:ext>
            </a:extLst>
          </p:cNvPr>
          <p:cNvSpPr txBox="1"/>
          <p:nvPr/>
        </p:nvSpPr>
        <p:spPr>
          <a:xfrm>
            <a:off x="715312" y="3537499"/>
            <a:ext cx="406405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D60B52"/>
                </a:solidFill>
              </a:rPr>
              <a:t>5. Data</a:t>
            </a:r>
            <a:endParaRPr lang="en-GB" sz="1600" b="1" dirty="0">
              <a:solidFill>
                <a:srgbClr val="D60B52"/>
              </a:solidFill>
            </a:endParaRPr>
          </a:p>
          <a:p>
            <a:pPr lvl="1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Data play an increasing role in supporting health and care servic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DF1E93-EFF5-2285-D0EE-7B523ABE8F82}"/>
              </a:ext>
            </a:extLst>
          </p:cNvPr>
          <p:cNvSpPr txBox="1"/>
          <p:nvPr/>
        </p:nvSpPr>
        <p:spPr>
          <a:xfrm>
            <a:off x="4937990" y="3568321"/>
            <a:ext cx="69081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may fail to exploit shared data and ‘big data’ to good effect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4CADC4-B662-637B-6B7F-EA9A71693BD0}"/>
              </a:ext>
            </a:extLst>
          </p:cNvPr>
          <p:cNvSpPr txBox="1"/>
          <p:nvPr/>
        </p:nvSpPr>
        <p:spPr>
          <a:xfrm>
            <a:off x="715311" y="5168715"/>
            <a:ext cx="4360123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D60B52"/>
                </a:solidFill>
              </a:rPr>
              <a:t>6. Cyber security</a:t>
            </a:r>
          </a:p>
          <a:p>
            <a:pPr lvl="1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Negative ‘flip-side’ of digitization and data use </a:t>
            </a:r>
          </a:p>
          <a:p>
            <a:endParaRPr lang="en-GB" sz="2800" b="1" dirty="0">
              <a:solidFill>
                <a:srgbClr val="D60B5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E4B9B2-AECC-4CE0-CC6A-3373511C0622}"/>
              </a:ext>
            </a:extLst>
          </p:cNvPr>
          <p:cNvSpPr txBox="1"/>
          <p:nvPr/>
        </p:nvSpPr>
        <p:spPr>
          <a:xfrm>
            <a:off x="4937989" y="5150243"/>
            <a:ext cx="69081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e processes and controls in place? </a:t>
            </a:r>
          </a:p>
          <a:p>
            <a:pPr lvl="0"/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 there adequate support and guidance?</a:t>
            </a:r>
          </a:p>
          <a:p>
            <a:pPr lvl="0"/>
            <a:endParaRPr lang="en-GB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189646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3" grpId="0"/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1CC712-6BE4-C22E-B450-4AA7FC7F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38C26E2-2E43-8D7F-A0F1-03F9CC8E66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42228" y="1066112"/>
            <a:ext cx="5074709" cy="3459516"/>
          </a:xfrm>
        </p:spPr>
        <p:txBody>
          <a:bodyPr/>
          <a:lstStyle/>
          <a:p>
            <a:r>
              <a:rPr lang="en-GB" sz="6600" dirty="0"/>
              <a:t>Risk Likelihood &amp; Severity</a:t>
            </a:r>
          </a:p>
          <a:p>
            <a:r>
              <a:rPr lang="en-GB" sz="4400" dirty="0"/>
              <a:t>Evaluation tool</a:t>
            </a:r>
          </a:p>
        </p:txBody>
      </p:sp>
    </p:spTree>
    <p:extLst>
      <p:ext uri="{BB962C8B-B14F-4D97-AF65-F5344CB8AC3E}">
        <p14:creationId xmlns:p14="http://schemas.microsoft.com/office/powerpoint/2010/main" val="17833472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8CDA59-5557-4C91-A0A4-0A6CD058DD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596" y="987971"/>
            <a:ext cx="11188557" cy="2116693"/>
          </a:xfrm>
        </p:spPr>
        <p:txBody>
          <a:bodyPr/>
          <a:lstStyle/>
          <a:p>
            <a:r>
              <a:rPr lang="en-GB" sz="2000" dirty="0"/>
              <a:t>Key considerations in understanding risks is that we should be able to identify both the “Likelihood” of a risk actually occurring and the “Severity” of the impact if that risk did happen. </a:t>
            </a:r>
          </a:p>
          <a:p>
            <a:r>
              <a:rPr lang="en-GB" sz="2000" dirty="0"/>
              <a:t>It is the combination of Likelihood and Severity that dictates the impact of a particular risk. Within the Risk Matrix templates we have included a means of measuring these. </a:t>
            </a:r>
          </a:p>
          <a:p>
            <a:r>
              <a:rPr lang="en-GB" sz="2000" dirty="0"/>
              <a:t>HOWEVER, you will need to undertake your own assessment of each of the levels of Likelihood &amp; Severity. When measuring Severity you may want to identify this for EACH of the risks differently, as the impact will be felt in different ways. You now have a template list of Risk Areas and you may want different levels for each (example: the definition of severity may vary for example between Financial impact and Reputational impact).</a:t>
            </a:r>
          </a:p>
          <a:p>
            <a:r>
              <a:rPr lang="en-GB" sz="2000" dirty="0"/>
              <a:t>To aid you, we have included examples below: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D251BD-65FC-4BF3-B2F1-8F16871611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6" y="176289"/>
            <a:ext cx="10513168" cy="720080"/>
          </a:xfrm>
        </p:spPr>
        <p:txBody>
          <a:bodyPr/>
          <a:lstStyle/>
          <a:p>
            <a:r>
              <a:rPr lang="en-GB" b="0" dirty="0">
                <a:solidFill>
                  <a:srgbClr val="D60B52"/>
                </a:solidFill>
              </a:rPr>
              <a:t>Defining Risk Likelihood &amp; Severity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CE2B6EEF-62F2-4758-84D1-C392267C21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477007"/>
              </p:ext>
            </p:extLst>
          </p:nvPr>
        </p:nvGraphicFramePr>
        <p:xfrm>
          <a:off x="1079596" y="4912806"/>
          <a:ext cx="6773335" cy="1219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54667">
                  <a:extLst>
                    <a:ext uri="{9D8B030D-6E8A-4147-A177-3AD203B41FA5}">
                      <a16:colId xmlns:a16="http://schemas.microsoft.com/office/drawing/2014/main" val="26884186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4268574269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448653781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583031555"/>
                    </a:ext>
                  </a:extLst>
                </a:gridCol>
                <a:gridCol w="1354667">
                  <a:extLst>
                    <a:ext uri="{9D8B030D-6E8A-4147-A177-3AD203B41FA5}">
                      <a16:colId xmlns:a16="http://schemas.microsoft.com/office/drawing/2014/main" val="29576442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/>
                        <a:t>Not Significan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/>
                        <a:t>Minor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/>
                        <a:t>Seriou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/>
                        <a:t>Very Seriou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/>
                        <a:t>Extremely Seriou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618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 Less than £1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10-5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50-10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100-250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£250k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891222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73778D7-0667-4A49-822F-DB7D2C5AAF01}"/>
              </a:ext>
            </a:extLst>
          </p:cNvPr>
          <p:cNvSpPr txBox="1"/>
          <p:nvPr/>
        </p:nvSpPr>
        <p:spPr>
          <a:xfrm>
            <a:off x="205610" y="5662202"/>
            <a:ext cx="8738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D7D5DC-1FDC-4454-B0A2-68F8D0A1BF42}"/>
              </a:ext>
            </a:extLst>
          </p:cNvPr>
          <p:cNvSpPr txBox="1"/>
          <p:nvPr/>
        </p:nvSpPr>
        <p:spPr>
          <a:xfrm rot="5400000">
            <a:off x="11183375" y="4838211"/>
            <a:ext cx="8738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2FB601-EC69-4033-B0C7-CC073A9FDCFD}"/>
              </a:ext>
            </a:extLst>
          </p:cNvPr>
          <p:cNvSpPr txBox="1"/>
          <p:nvPr/>
        </p:nvSpPr>
        <p:spPr>
          <a:xfrm>
            <a:off x="1209640" y="4425836"/>
            <a:ext cx="9813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VER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4E84DE-E848-471F-AA9E-E8C099B6C9F8}"/>
              </a:ext>
            </a:extLst>
          </p:cNvPr>
          <p:cNvSpPr txBox="1"/>
          <p:nvPr/>
        </p:nvSpPr>
        <p:spPr>
          <a:xfrm>
            <a:off x="7770739" y="3789540"/>
            <a:ext cx="12170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KELIHOOD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6694676E-E05F-400B-9F0B-538213AF05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0900169"/>
              </p:ext>
            </p:extLst>
          </p:nvPr>
        </p:nvGraphicFramePr>
        <p:xfrm>
          <a:off x="9081754" y="3675591"/>
          <a:ext cx="2312285" cy="29407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46746">
                  <a:extLst>
                    <a:ext uri="{9D8B030D-6E8A-4147-A177-3AD203B41FA5}">
                      <a16:colId xmlns:a16="http://schemas.microsoft.com/office/drawing/2014/main" val="2688418655"/>
                    </a:ext>
                  </a:extLst>
                </a:gridCol>
                <a:gridCol w="965539">
                  <a:extLst>
                    <a:ext uri="{9D8B030D-6E8A-4147-A177-3AD203B41FA5}">
                      <a16:colId xmlns:a16="http://schemas.microsoft.com/office/drawing/2014/main" val="2448653781"/>
                    </a:ext>
                  </a:extLst>
                </a:gridCol>
              </a:tblGrid>
              <a:tr h="7243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/>
                        <a:t>Very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/>
                        <a:t>Frequen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At least monthly</a:t>
                      </a:r>
                    </a:p>
                    <a:p>
                      <a:pPr algn="ctr"/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161845"/>
                  </a:ext>
                </a:extLst>
              </a:tr>
              <a:tr h="36219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equent</a:t>
                      </a:r>
                    </a:p>
                    <a:p>
                      <a:endParaRPr lang="en-GB" sz="24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Annually</a:t>
                      </a:r>
                    </a:p>
                    <a:p>
                      <a:pPr algn="ctr"/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084384"/>
                  </a:ext>
                </a:extLst>
              </a:tr>
              <a:tr h="36219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frequent</a:t>
                      </a:r>
                    </a:p>
                    <a:p>
                      <a:endParaRPr lang="en-GB" sz="24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Between 1-5 yea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2178588"/>
                  </a:ext>
                </a:extLst>
              </a:tr>
              <a:tr h="654794"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/>
                        <a:t>Remote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5 years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8912224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F9110C-65E0-5584-580F-E80DCFAED7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90D088-03E4-4302-8FFF-A0D1286FDA4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4368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rrow: Down 19">
            <a:extLst>
              <a:ext uri="{FF2B5EF4-FFF2-40B4-BE49-F238E27FC236}">
                <a16:creationId xmlns:a16="http://schemas.microsoft.com/office/drawing/2014/main" id="{9B1B721C-AC41-4AA4-B63F-EB69A0404837}"/>
              </a:ext>
            </a:extLst>
          </p:cNvPr>
          <p:cNvSpPr/>
          <p:nvPr/>
        </p:nvSpPr>
        <p:spPr>
          <a:xfrm rot="16200000" flipH="1">
            <a:off x="6430483" y="1654147"/>
            <a:ext cx="497277" cy="85110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ECB3AA0D-3976-48FD-ADF6-E0D7CE8FEA9B}"/>
              </a:ext>
            </a:extLst>
          </p:cNvPr>
          <p:cNvSpPr/>
          <p:nvPr/>
        </p:nvSpPr>
        <p:spPr>
          <a:xfrm rot="10800000" flipH="1">
            <a:off x="366467" y="3215810"/>
            <a:ext cx="497277" cy="179186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633D50A-9328-4FEC-B661-E5189C622C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1073095"/>
              </p:ext>
            </p:extLst>
          </p:nvPr>
        </p:nvGraphicFramePr>
        <p:xfrm>
          <a:off x="2135560" y="3544637"/>
          <a:ext cx="9087125" cy="1463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7425">
                  <a:extLst>
                    <a:ext uri="{9D8B030D-6E8A-4147-A177-3AD203B41FA5}">
                      <a16:colId xmlns:a16="http://schemas.microsoft.com/office/drawing/2014/main" val="1580167344"/>
                    </a:ext>
                  </a:extLst>
                </a:gridCol>
                <a:gridCol w="1817425">
                  <a:extLst>
                    <a:ext uri="{9D8B030D-6E8A-4147-A177-3AD203B41FA5}">
                      <a16:colId xmlns:a16="http://schemas.microsoft.com/office/drawing/2014/main" val="1479570651"/>
                    </a:ext>
                  </a:extLst>
                </a:gridCol>
                <a:gridCol w="1817425">
                  <a:extLst>
                    <a:ext uri="{9D8B030D-6E8A-4147-A177-3AD203B41FA5}">
                      <a16:colId xmlns:a16="http://schemas.microsoft.com/office/drawing/2014/main" val="713131571"/>
                    </a:ext>
                  </a:extLst>
                </a:gridCol>
                <a:gridCol w="1817425">
                  <a:extLst>
                    <a:ext uri="{9D8B030D-6E8A-4147-A177-3AD203B41FA5}">
                      <a16:colId xmlns:a16="http://schemas.microsoft.com/office/drawing/2014/main" val="2347254452"/>
                    </a:ext>
                  </a:extLst>
                </a:gridCol>
                <a:gridCol w="1817425">
                  <a:extLst>
                    <a:ext uri="{9D8B030D-6E8A-4147-A177-3AD203B41FA5}">
                      <a16:colId xmlns:a16="http://schemas.microsoft.com/office/drawing/2014/main" val="1888770692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13447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Risk Y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81248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isk X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7460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Risk Z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6223463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F1A33C6-2479-463D-B558-4964BBED8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755" y="183399"/>
            <a:ext cx="10479781" cy="835753"/>
          </a:xfrm>
        </p:spPr>
        <p:txBody>
          <a:bodyPr/>
          <a:lstStyle/>
          <a:p>
            <a:r>
              <a:rPr lang="en-GB" dirty="0">
                <a:solidFill>
                  <a:srgbClr val="D60B52"/>
                </a:solidFill>
              </a:rPr>
              <a:t>Risk Impact - Mapping Matri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475CAE-5D73-4517-AE48-1E62ADFACC30}"/>
              </a:ext>
            </a:extLst>
          </p:cNvPr>
          <p:cNvSpPr txBox="1"/>
          <p:nvPr/>
        </p:nvSpPr>
        <p:spPr>
          <a:xfrm>
            <a:off x="5560646" y="5722491"/>
            <a:ext cx="9362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ver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6743C6-DEAD-41FD-A230-80D2FDA04326}"/>
              </a:ext>
            </a:extLst>
          </p:cNvPr>
          <p:cNvSpPr txBox="1"/>
          <p:nvPr/>
        </p:nvSpPr>
        <p:spPr>
          <a:xfrm rot="16200000">
            <a:off x="-85290" y="4212357"/>
            <a:ext cx="1396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Likelihoo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6242D2-98ED-4B5D-9363-A53AD10AEDE9}"/>
              </a:ext>
            </a:extLst>
          </p:cNvPr>
          <p:cNvSpPr txBox="1"/>
          <p:nvPr/>
        </p:nvSpPr>
        <p:spPr>
          <a:xfrm>
            <a:off x="1051392" y="4655199"/>
            <a:ext cx="7649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o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970A3C-1E96-499D-8650-7D82961A53E8}"/>
              </a:ext>
            </a:extLst>
          </p:cNvPr>
          <p:cNvSpPr txBox="1"/>
          <p:nvPr/>
        </p:nvSpPr>
        <p:spPr>
          <a:xfrm>
            <a:off x="1051392" y="4289896"/>
            <a:ext cx="9751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equ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47C9D0-3E2D-449C-A84C-416EB7E4241E}"/>
              </a:ext>
            </a:extLst>
          </p:cNvPr>
          <p:cNvSpPr txBox="1"/>
          <p:nvPr/>
        </p:nvSpPr>
        <p:spPr>
          <a:xfrm>
            <a:off x="1056690" y="3928144"/>
            <a:ext cx="8574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qu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6EA108-4FA5-46AC-AC89-2251C6BCB054}"/>
              </a:ext>
            </a:extLst>
          </p:cNvPr>
          <p:cNvSpPr txBox="1"/>
          <p:nvPr/>
        </p:nvSpPr>
        <p:spPr>
          <a:xfrm>
            <a:off x="855838" y="3544637"/>
            <a:ext cx="12337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y Frequ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8F2DFD9-BEE7-4BBC-A2EF-7B456C7FCF47}"/>
              </a:ext>
            </a:extLst>
          </p:cNvPr>
          <p:cNvSpPr txBox="1"/>
          <p:nvPr/>
        </p:nvSpPr>
        <p:spPr>
          <a:xfrm>
            <a:off x="2351584" y="5143032"/>
            <a:ext cx="12784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 Significa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6A5C65B-119A-4160-88B1-3C44228DF977}"/>
              </a:ext>
            </a:extLst>
          </p:cNvPr>
          <p:cNvSpPr txBox="1"/>
          <p:nvPr/>
        </p:nvSpPr>
        <p:spPr>
          <a:xfrm>
            <a:off x="4511824" y="5143032"/>
            <a:ext cx="6431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ADF4F15-D524-4F53-8626-2568E3AB7FC5}"/>
              </a:ext>
            </a:extLst>
          </p:cNvPr>
          <p:cNvSpPr txBox="1"/>
          <p:nvPr/>
        </p:nvSpPr>
        <p:spPr>
          <a:xfrm>
            <a:off x="6254055" y="5143032"/>
            <a:ext cx="7328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iou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53E89BD-7314-4106-8A12-ABD8CC08D0F5}"/>
              </a:ext>
            </a:extLst>
          </p:cNvPr>
          <p:cNvSpPr txBox="1"/>
          <p:nvPr/>
        </p:nvSpPr>
        <p:spPr>
          <a:xfrm>
            <a:off x="7968208" y="5143033"/>
            <a:ext cx="11091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y Seriou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AA62753-CCB1-44E7-8ACE-1D8F3BB0A017}"/>
              </a:ext>
            </a:extLst>
          </p:cNvPr>
          <p:cNvSpPr txBox="1"/>
          <p:nvPr/>
        </p:nvSpPr>
        <p:spPr>
          <a:xfrm>
            <a:off x="9624392" y="5143032"/>
            <a:ext cx="15227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remely Serious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2C49438-5A14-45BE-86C8-7B3A7284236A}"/>
              </a:ext>
            </a:extLst>
          </p:cNvPr>
          <p:cNvSpPr txBox="1">
            <a:spLocks/>
          </p:cNvSpPr>
          <p:nvPr/>
        </p:nvSpPr>
        <p:spPr>
          <a:xfrm>
            <a:off x="785388" y="1045521"/>
            <a:ext cx="10684664" cy="154557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useo Sans 700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2" charset="0"/>
                <a:ea typeface="+mn-ea"/>
                <a:cs typeface="+mn-cs"/>
              </a:rPr>
              <a:t>Now you can assess impact by combining Likelihood and Severity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2" charset="0"/>
                <a:ea typeface="+mn-ea"/>
                <a:cs typeface="+mn-cs"/>
              </a:rPr>
              <a:t>Using the matrix below, you can allocate your risks according to their relative Likelihood and Severity of a risk occurring, so you can prioritise your focus to reduce or mitigate the risks appropriately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2" charset="0"/>
                <a:ea typeface="+mn-ea"/>
                <a:cs typeface="+mn-cs"/>
              </a:rPr>
              <a:t>Each risk can now be categorised in terms of its impact (black-critical, red, amber, green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700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36209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1CC712-6BE4-C22E-B450-4AA7FC7F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5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38C26E2-2E43-8D7F-A0F1-03F9CC8E66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42228" y="1066112"/>
            <a:ext cx="5074709" cy="3459516"/>
          </a:xfrm>
        </p:spPr>
        <p:txBody>
          <a:bodyPr/>
          <a:lstStyle/>
          <a:p>
            <a:r>
              <a:rPr lang="en-GB" sz="6600" dirty="0"/>
              <a:t>Risk</a:t>
            </a:r>
          </a:p>
          <a:p>
            <a:r>
              <a:rPr lang="en-GB" sz="6600" dirty="0"/>
              <a:t>Register</a:t>
            </a:r>
          </a:p>
          <a:p>
            <a:r>
              <a:rPr lang="en-GB" sz="4400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548494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853F58-E31C-4387-B759-C93F2E4842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3966" y="1510301"/>
            <a:ext cx="10454952" cy="447953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3200" dirty="0"/>
              <a:t>Tools &amp; Templates included here: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3200" dirty="0"/>
              <a:t>Risk Maturity – Self Assessment tool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3200" dirty="0"/>
              <a:t>Sources of Risk - Checklist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3200" dirty="0"/>
              <a:t>TEC Sector Risks – 2021 Sector Survey summary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3200" dirty="0"/>
              <a:t>Risk Likelihood and Severity – Evaluation Tool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3200" dirty="0"/>
              <a:t>Risk Register - Template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3200" dirty="0"/>
              <a:t>Risk Incident Escalation - Templ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9BD0BD-C835-4EB7-93AB-249A1CDC3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192" y="303587"/>
            <a:ext cx="10454952" cy="1037181"/>
          </a:xfrm>
        </p:spPr>
        <p:txBody>
          <a:bodyPr/>
          <a:lstStyle/>
          <a:p>
            <a:r>
              <a:rPr lang="en-GB" dirty="0">
                <a:solidFill>
                  <a:srgbClr val="D60B52"/>
                </a:solidFill>
              </a:rPr>
              <a:t>Risk Management Tools &amp; Templates</a:t>
            </a:r>
          </a:p>
        </p:txBody>
      </p:sp>
    </p:spTree>
    <p:extLst>
      <p:ext uri="{BB962C8B-B14F-4D97-AF65-F5344CB8AC3E}">
        <p14:creationId xmlns:p14="http://schemas.microsoft.com/office/powerpoint/2010/main" val="16928748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3586EE1-16FD-49E8-80ED-31E7C7E04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61" y="487099"/>
            <a:ext cx="10934675" cy="1138702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rgbClr val="D60B52"/>
                </a:solidFill>
              </a:rPr>
              <a:t>Risk Register</a:t>
            </a:r>
            <a:br>
              <a:rPr lang="en-GB" dirty="0">
                <a:solidFill>
                  <a:srgbClr val="D60B52"/>
                </a:solidFill>
              </a:rPr>
            </a:br>
            <a:r>
              <a:rPr lang="en-GB" dirty="0">
                <a:solidFill>
                  <a:srgbClr val="D60B52"/>
                </a:solidFill>
              </a:rPr>
              <a:t>template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B9518732-A76B-B2D8-E112-EB878ED5BE67}"/>
              </a:ext>
            </a:extLst>
          </p:cNvPr>
          <p:cNvSpPr txBox="1">
            <a:spLocks/>
          </p:cNvSpPr>
          <p:nvPr/>
        </p:nvSpPr>
        <p:spPr>
          <a:xfrm>
            <a:off x="4119937" y="470822"/>
            <a:ext cx="7443399" cy="15429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useo Sans 700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2" charset="0"/>
                <a:ea typeface="+mn-ea"/>
                <a:cs typeface="+mn-cs"/>
              </a:rPr>
              <a:t>This template may be useful within your management processes. It provides a format for capturing a register of the risks identified, the associated action plans and Key Risk Indicators (KRI)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2" charset="0"/>
                <a:ea typeface="+mn-ea"/>
                <a:cs typeface="+mn-cs"/>
              </a:rPr>
              <a:t>See the spreadsheet version that we have provided in the toolkit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700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950522-19A9-DADE-AA0E-634AC38C25C2}"/>
              </a:ext>
            </a:extLst>
          </p:cNvPr>
          <p:cNvSpPr txBox="1"/>
          <p:nvPr/>
        </p:nvSpPr>
        <p:spPr>
          <a:xfrm>
            <a:off x="3048856" y="3246902"/>
            <a:ext cx="609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  <a:r>
              <a:rPr lang="en-GB" dirty="0"/>
              <a:t> </a:t>
            </a:r>
          </a:p>
        </p:txBody>
      </p:sp>
      <p:pic>
        <p:nvPicPr>
          <p:cNvPr id="12" name="Picture 11" descr="Chart, Excel, waterfall chart&#10;&#10;Description automatically generated">
            <a:extLst>
              <a:ext uri="{FF2B5EF4-FFF2-40B4-BE49-F238E27FC236}">
                <a16:creationId xmlns:a16="http://schemas.microsoft.com/office/drawing/2014/main" id="{9EA8E34B-40E1-6931-9F1B-9AFD4E9B29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753" y="2257122"/>
            <a:ext cx="9416493" cy="2195725"/>
          </a:xfrm>
          <a:prstGeom prst="rect">
            <a:avLst/>
          </a:prstGeom>
        </p:spPr>
      </p:pic>
      <p:pic>
        <p:nvPicPr>
          <p:cNvPr id="14" name="Picture 13" descr="Graphical user interface, application, table&#10;&#10;Description automatically generated">
            <a:extLst>
              <a:ext uri="{FF2B5EF4-FFF2-40B4-BE49-F238E27FC236}">
                <a16:creationId xmlns:a16="http://schemas.microsoft.com/office/drawing/2014/main" id="{76C2F822-CBDD-6F55-F5CA-74893B736B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7753" y="4844266"/>
            <a:ext cx="9416493" cy="143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2619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1CC712-6BE4-C22E-B450-4AA7FC7F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6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38C26E2-2E43-8D7F-A0F1-03F9CC8E66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42228" y="1066112"/>
            <a:ext cx="5074709" cy="3459516"/>
          </a:xfrm>
        </p:spPr>
        <p:txBody>
          <a:bodyPr/>
          <a:lstStyle/>
          <a:p>
            <a:r>
              <a:rPr lang="en-GB" sz="6600" dirty="0"/>
              <a:t>Risk</a:t>
            </a:r>
          </a:p>
          <a:p>
            <a:r>
              <a:rPr lang="en-GB" sz="6600" dirty="0"/>
              <a:t>Incident Escalation</a:t>
            </a:r>
          </a:p>
          <a:p>
            <a:r>
              <a:rPr lang="en-GB" sz="4400" dirty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9881527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3586EE1-16FD-49E8-80ED-31E7C7E04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62" y="735468"/>
            <a:ext cx="10934675" cy="1138702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rgbClr val="D60B52"/>
                </a:solidFill>
              </a:rPr>
              <a:t>Risk Incident </a:t>
            </a:r>
            <a:br>
              <a:rPr lang="en-GB" dirty="0">
                <a:solidFill>
                  <a:srgbClr val="D60B52"/>
                </a:solidFill>
              </a:rPr>
            </a:br>
            <a:r>
              <a:rPr lang="en-GB" dirty="0">
                <a:solidFill>
                  <a:srgbClr val="D60B52"/>
                </a:solidFill>
              </a:rPr>
              <a:t>Escalation </a:t>
            </a:r>
            <a:br>
              <a:rPr lang="en-GB" dirty="0">
                <a:solidFill>
                  <a:srgbClr val="D60B52"/>
                </a:solidFill>
              </a:rPr>
            </a:br>
            <a:r>
              <a:rPr lang="en-GB" dirty="0">
                <a:solidFill>
                  <a:srgbClr val="D60B52"/>
                </a:solidFill>
              </a:rPr>
              <a:t>templ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F0CF9F-B9B5-4AE0-B076-86FF6BE825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235" t="22700" r="37006" b="8001"/>
          <a:stretch/>
        </p:blipFill>
        <p:spPr>
          <a:xfrm>
            <a:off x="5383659" y="139521"/>
            <a:ext cx="4663650" cy="65489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B9518732-A76B-B2D8-E112-EB878ED5BE67}"/>
              </a:ext>
            </a:extLst>
          </p:cNvPr>
          <p:cNvSpPr txBox="1">
            <a:spLocks/>
          </p:cNvSpPr>
          <p:nvPr/>
        </p:nvSpPr>
        <p:spPr>
          <a:xfrm>
            <a:off x="628662" y="3183200"/>
            <a:ext cx="4159095" cy="20668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Museo Sans 700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2" charset="0"/>
                <a:ea typeface="+mn-ea"/>
                <a:cs typeface="+mn-cs"/>
              </a:rPr>
              <a:t>This Incident Escalation template may be useful within your management processe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2" charset="0"/>
                <a:ea typeface="+mn-ea"/>
                <a:cs typeface="+mn-cs"/>
              </a:rPr>
              <a:t>See the word version that we have provided in the toolkit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700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2998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853F58-E31C-4387-B759-C93F2E4842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8524" y="2018869"/>
            <a:ext cx="10454952" cy="282539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TSA wish to thank all the people and organisations that contributed to the work of ‘Special Interest Group 14 – Risk Management’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Particular thanks go </a:t>
            </a:r>
            <a:r>
              <a:rPr lang="en-GB"/>
              <a:t>to Taking </a:t>
            </a:r>
            <a:r>
              <a:rPr lang="en-GB" dirty="0"/>
              <a:t>Care for their work on various templates for the risk toolkit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9BD0BD-C835-4EB7-93AB-249A1CDC3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192" y="303587"/>
            <a:ext cx="10454952" cy="1037181"/>
          </a:xfrm>
        </p:spPr>
        <p:txBody>
          <a:bodyPr/>
          <a:lstStyle/>
          <a:p>
            <a:r>
              <a:rPr lang="en-GB" dirty="0">
                <a:solidFill>
                  <a:srgbClr val="D60B52"/>
                </a:solidFill>
              </a:rPr>
              <a:t>Acknowledgements</a:t>
            </a:r>
          </a:p>
        </p:txBody>
      </p:sp>
    </p:spTree>
    <p:extLst>
      <p:ext uri="{BB962C8B-B14F-4D97-AF65-F5344CB8AC3E}">
        <p14:creationId xmlns:p14="http://schemas.microsoft.com/office/powerpoint/2010/main" val="1507452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1CC712-6BE4-C22E-B450-4AA7FC7F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1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38C26E2-2E43-8D7F-A0F1-03F9CC8E66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35265" y="1456529"/>
            <a:ext cx="6644972" cy="3459516"/>
          </a:xfrm>
        </p:spPr>
        <p:txBody>
          <a:bodyPr/>
          <a:lstStyle/>
          <a:p>
            <a:r>
              <a:rPr lang="en-GB" sz="6000" dirty="0"/>
              <a:t>Risk Management Maturity</a:t>
            </a:r>
          </a:p>
          <a:p>
            <a:r>
              <a:rPr lang="en-GB" sz="4800" dirty="0"/>
              <a:t>Self Assessment Tool</a:t>
            </a:r>
          </a:p>
        </p:txBody>
      </p:sp>
    </p:spTree>
    <p:extLst>
      <p:ext uri="{BB962C8B-B14F-4D97-AF65-F5344CB8AC3E}">
        <p14:creationId xmlns:p14="http://schemas.microsoft.com/office/powerpoint/2010/main" val="3674469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9AFB7-BC41-48FA-A242-AFD7FE2E3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41" y="84117"/>
            <a:ext cx="10454952" cy="861213"/>
          </a:xfrm>
        </p:spPr>
        <p:txBody>
          <a:bodyPr/>
          <a:lstStyle/>
          <a:p>
            <a:r>
              <a:rPr lang="en-GB" dirty="0">
                <a:solidFill>
                  <a:srgbClr val="D60B52"/>
                </a:solidFill>
              </a:rPr>
              <a:t>Different levels of risk management maturit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EC3C3C2-826A-4690-9F3C-396C740A6AA8}"/>
              </a:ext>
            </a:extLst>
          </p:cNvPr>
          <p:cNvGrpSpPr/>
          <p:nvPr/>
        </p:nvGrpSpPr>
        <p:grpSpPr>
          <a:xfrm>
            <a:off x="1336048" y="1495058"/>
            <a:ext cx="9008424" cy="5204601"/>
            <a:chOff x="518703" y="1657941"/>
            <a:chExt cx="8637775" cy="460001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72FB1F4-7D3F-416F-9065-251F721EE1E1}"/>
                </a:ext>
              </a:extLst>
            </p:cNvPr>
            <p:cNvSpPr/>
            <p:nvPr/>
          </p:nvSpPr>
          <p:spPr>
            <a:xfrm>
              <a:off x="1142096" y="4753510"/>
              <a:ext cx="1736234" cy="8192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imited awareness of risk managemen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any surpris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liant on heroic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FBD3480-93A7-48EC-B38F-CD658A26E18C}"/>
                </a:ext>
              </a:extLst>
            </p:cNvPr>
            <p:cNvSpPr/>
            <p:nvPr/>
          </p:nvSpPr>
          <p:spPr>
            <a:xfrm>
              <a:off x="1142096" y="4162843"/>
              <a:ext cx="1736234" cy="495711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on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6A1D872-CCDA-48DE-9F75-D2530D6743DD}"/>
                </a:ext>
              </a:extLst>
            </p:cNvPr>
            <p:cNvSpPr/>
            <p:nvPr/>
          </p:nvSpPr>
          <p:spPr>
            <a:xfrm>
              <a:off x="3140142" y="4161332"/>
              <a:ext cx="1736234" cy="10848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isk applied inconsistently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imited standardisatio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ome formal process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active to adverse situation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51867B1-34B2-4613-9A61-FF4CFAF75D2E}"/>
                </a:ext>
              </a:extLst>
            </p:cNvPr>
            <p:cNvSpPr/>
            <p:nvPr/>
          </p:nvSpPr>
          <p:spPr>
            <a:xfrm>
              <a:off x="3127892" y="3570663"/>
              <a:ext cx="1736234" cy="495711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asic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D0A9C62-F8F5-46C0-A90A-E7FBD35B4A1D}"/>
                </a:ext>
              </a:extLst>
            </p:cNvPr>
            <p:cNvSpPr/>
            <p:nvPr/>
          </p:nvSpPr>
          <p:spPr>
            <a:xfrm>
              <a:off x="5138188" y="3565328"/>
              <a:ext cx="1736234" cy="15121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ne set at the top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olicies and procedures in plac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ost processes implemented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enior management engagement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asic information reported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4D7BF9C-0CC5-4E74-8ED6-D607A9FDF0AF}"/>
                </a:ext>
              </a:extLst>
            </p:cNvPr>
            <p:cNvSpPr/>
            <p:nvPr/>
          </p:nvSpPr>
          <p:spPr>
            <a:xfrm>
              <a:off x="5138188" y="2956523"/>
              <a:ext cx="1736234" cy="495711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Intermediat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61E3341-BFAC-4C01-8971-F7B95915832D}"/>
                </a:ext>
              </a:extLst>
            </p:cNvPr>
            <p:cNvSpPr/>
            <p:nvPr/>
          </p:nvSpPr>
          <p:spPr>
            <a:xfrm>
              <a:off x="7104084" y="2933110"/>
              <a:ext cx="1736234" cy="144757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roactive in risk managemen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onsistent, fully implemented process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RIs used for key risk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enior management actively engaged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apid escalatio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Deep review of Risk Incidents/Near Misse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B6D7AE9-8A52-4E34-9F54-AEF0B803EF84}"/>
                </a:ext>
              </a:extLst>
            </p:cNvPr>
            <p:cNvSpPr/>
            <p:nvPr/>
          </p:nvSpPr>
          <p:spPr>
            <a:xfrm>
              <a:off x="7104084" y="2334070"/>
              <a:ext cx="1736234" cy="495711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hanced</a:t>
              </a: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5980A9B8-90EE-442E-8965-7635C6A1289D}"/>
                </a:ext>
              </a:extLst>
            </p:cNvPr>
            <p:cNvSpPr/>
            <p:nvPr/>
          </p:nvSpPr>
          <p:spPr>
            <a:xfrm>
              <a:off x="1006679" y="5716712"/>
              <a:ext cx="8149799" cy="161497"/>
            </a:xfrm>
            <a:prstGeom prst="rightArrow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8234F0F-1B1E-4958-B43A-9B955C510F2D}"/>
                </a:ext>
              </a:extLst>
            </p:cNvPr>
            <p:cNvSpPr txBox="1"/>
            <p:nvPr/>
          </p:nvSpPr>
          <p:spPr>
            <a:xfrm>
              <a:off x="4184441" y="5916853"/>
              <a:ext cx="2293275" cy="34110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ey Characteristics</a:t>
              </a:r>
            </a:p>
          </p:txBody>
        </p:sp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CD64D07F-A147-4E21-B5ED-5A6D63037CE8}"/>
                </a:ext>
              </a:extLst>
            </p:cNvPr>
            <p:cNvSpPr/>
            <p:nvPr/>
          </p:nvSpPr>
          <p:spPr>
            <a:xfrm rot="16200000">
              <a:off x="-1109871" y="3636316"/>
              <a:ext cx="4174864" cy="218114"/>
            </a:xfrm>
            <a:prstGeom prst="rightArrow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373087B-4779-46F8-A14A-D0AB6DBBA4E9}"/>
                </a:ext>
              </a:extLst>
            </p:cNvPr>
            <p:cNvSpPr txBox="1"/>
            <p:nvPr/>
          </p:nvSpPr>
          <p:spPr>
            <a:xfrm rot="16200000">
              <a:off x="-376204" y="3382791"/>
              <a:ext cx="2159874" cy="370060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isk Maturity Level</a:t>
              </a:r>
            </a:p>
          </p:txBody>
        </p:sp>
        <p:sp>
          <p:nvSpPr>
            <p:cNvPr id="25" name="Arrow: Bent 24">
              <a:extLst>
                <a:ext uri="{FF2B5EF4-FFF2-40B4-BE49-F238E27FC236}">
                  <a16:creationId xmlns:a16="http://schemas.microsoft.com/office/drawing/2014/main" id="{D3E9811D-7367-4277-BE7D-A7461B658EB3}"/>
                </a:ext>
              </a:extLst>
            </p:cNvPr>
            <p:cNvSpPr/>
            <p:nvPr/>
          </p:nvSpPr>
          <p:spPr>
            <a:xfrm>
              <a:off x="2655908" y="3766424"/>
              <a:ext cx="471984" cy="398461"/>
            </a:xfrm>
            <a:prstGeom prst="bentArrow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1" name="Arrow: Bent 30">
              <a:extLst>
                <a:ext uri="{FF2B5EF4-FFF2-40B4-BE49-F238E27FC236}">
                  <a16:creationId xmlns:a16="http://schemas.microsoft.com/office/drawing/2014/main" id="{51D40041-32A2-4039-82E9-CF97BA303CF5}"/>
                </a:ext>
              </a:extLst>
            </p:cNvPr>
            <p:cNvSpPr/>
            <p:nvPr/>
          </p:nvSpPr>
          <p:spPr>
            <a:xfrm>
              <a:off x="4672534" y="3172602"/>
              <a:ext cx="471984" cy="398461"/>
            </a:xfrm>
            <a:prstGeom prst="bentArrow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2" name="Arrow: Bent 31">
              <a:extLst>
                <a:ext uri="{FF2B5EF4-FFF2-40B4-BE49-F238E27FC236}">
                  <a16:creationId xmlns:a16="http://schemas.microsoft.com/office/drawing/2014/main" id="{7EAF309C-EF8A-4B22-A702-3073494AF23D}"/>
                </a:ext>
              </a:extLst>
            </p:cNvPr>
            <p:cNvSpPr/>
            <p:nvPr/>
          </p:nvSpPr>
          <p:spPr>
            <a:xfrm>
              <a:off x="6617609" y="2567903"/>
              <a:ext cx="471984" cy="398461"/>
            </a:xfrm>
            <a:prstGeom prst="bentArrow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F2B3F306-EF4B-11BB-977A-A47B090676E2}"/>
              </a:ext>
            </a:extLst>
          </p:cNvPr>
          <p:cNvSpPr txBox="1"/>
          <p:nvPr/>
        </p:nvSpPr>
        <p:spPr>
          <a:xfrm>
            <a:off x="2600769" y="1385026"/>
            <a:ext cx="52897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D60B52"/>
                </a:solidFill>
              </a:rPr>
              <a:t>Use the following slides to assess your organisational maturity</a:t>
            </a:r>
          </a:p>
        </p:txBody>
      </p:sp>
    </p:spTree>
    <p:extLst>
      <p:ext uri="{BB962C8B-B14F-4D97-AF65-F5344CB8AC3E}">
        <p14:creationId xmlns:p14="http://schemas.microsoft.com/office/powerpoint/2010/main" val="13940743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5E8D1E6C-6D70-499F-84A3-1E5F9AA0140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97255355"/>
              </p:ext>
            </p:extLst>
          </p:nvPr>
        </p:nvGraphicFramePr>
        <p:xfrm>
          <a:off x="529854" y="116840"/>
          <a:ext cx="11132291" cy="662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5760">
                  <a:extLst>
                    <a:ext uri="{9D8B030D-6E8A-4147-A177-3AD203B41FA5}">
                      <a16:colId xmlns:a16="http://schemas.microsoft.com/office/drawing/2014/main" val="1219848036"/>
                    </a:ext>
                  </a:extLst>
                </a:gridCol>
                <a:gridCol w="2765760">
                  <a:extLst>
                    <a:ext uri="{9D8B030D-6E8A-4147-A177-3AD203B41FA5}">
                      <a16:colId xmlns:a16="http://schemas.microsoft.com/office/drawing/2014/main" val="3401342109"/>
                    </a:ext>
                  </a:extLst>
                </a:gridCol>
                <a:gridCol w="2856758">
                  <a:extLst>
                    <a:ext uri="{9D8B030D-6E8A-4147-A177-3AD203B41FA5}">
                      <a16:colId xmlns:a16="http://schemas.microsoft.com/office/drawing/2014/main" val="3218667685"/>
                    </a:ext>
                  </a:extLst>
                </a:gridCol>
                <a:gridCol w="2744013">
                  <a:extLst>
                    <a:ext uri="{9D8B030D-6E8A-4147-A177-3AD203B41FA5}">
                      <a16:colId xmlns:a16="http://schemas.microsoft.com/office/drawing/2014/main" val="1836440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Bas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Intermedi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Advanc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04582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5262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Risk Owner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No 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allocated o</a:t>
                      </a:r>
                      <a:r>
                        <a:rPr lang="en-GB" sz="1400" dirty="0"/>
                        <a:t>wnership of risks within the organ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isk Champions (departmental) provide input to key risk activities: Risk Committee (cross-organisation) in existence and meeting regula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Senior-level ownership and management of risk activities: Corporate understanding of the importance of risk manag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734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Policies, Standards and Contr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Key organisational and operational risks identified and documented within a single regi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Risk Register identified and recorded – inc. likelihood and severity of risks, causes of risk identified, consequences of risk materialis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Risk Register reviewed on ongoing basis and appropriate changes to activities and controls undertaken to reduce future ri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837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Governance 1 (Measureme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No risk measurem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Key Risk Indicators (KRI) identified for each risk and measurement undertaken: reported to Management Team at least bi-annual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Quarterly KRI reporting to Board/Senior Management: Forecast of KRIs and KRI impact analysis undertaken prior to making key decis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2311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Governance 2 </a:t>
                      </a:r>
                    </a:p>
                    <a:p>
                      <a:r>
                        <a:rPr lang="en-GB" sz="2000" b="1" dirty="0"/>
                        <a:t>(Control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Risks identified but no control or mitigation measures aligned to ris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Pre-mitigation impact of risk identified &amp; post-mitigation impact: Key risk controls specifically identifi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isk controls reviewed/tested on ongoing basis: “Worst Case Scenario” risk stress testing undertaken on key ris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08135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Governance 3 </a:t>
                      </a:r>
                    </a:p>
                    <a:p>
                      <a:r>
                        <a:rPr lang="en-GB" sz="2000" b="1" dirty="0"/>
                        <a:t>(Risk Inciden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No risk incident reporting: Knowledge of risk incidents retained locally/departmental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“Near miss” potential risk review and capture process in place: Reported to Risk Committee for review on ongoing ba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Board-level bi-annual review of Risk Incident reporting, key trends, root cause analysis &amp; development of new mitigating contro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117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Governance 4 (Regulator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No alignment of risks to any regulatory/guidance framework: Participate in annual TSA risk surv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Alignment of risks within framework of TSA QS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Implementation of ISO3001 (Risk Managemen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042297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9F1F9A5-E6F6-402B-B270-8DB9303302C7}"/>
              </a:ext>
            </a:extLst>
          </p:cNvPr>
          <p:cNvSpPr txBox="1"/>
          <p:nvPr/>
        </p:nvSpPr>
        <p:spPr>
          <a:xfrm rot="16200000">
            <a:off x="-1040846" y="2934739"/>
            <a:ext cx="26821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 Domains</a:t>
            </a:r>
          </a:p>
        </p:txBody>
      </p:sp>
    </p:spTree>
    <p:extLst>
      <p:ext uri="{BB962C8B-B14F-4D97-AF65-F5344CB8AC3E}">
        <p14:creationId xmlns:p14="http://schemas.microsoft.com/office/powerpoint/2010/main" val="2231503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5E8D1E6C-6D70-499F-84A3-1E5F9AA0140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3711557"/>
              </p:ext>
            </p:extLst>
          </p:nvPr>
        </p:nvGraphicFramePr>
        <p:xfrm>
          <a:off x="529854" y="212893"/>
          <a:ext cx="11132291" cy="4947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5760">
                  <a:extLst>
                    <a:ext uri="{9D8B030D-6E8A-4147-A177-3AD203B41FA5}">
                      <a16:colId xmlns:a16="http://schemas.microsoft.com/office/drawing/2014/main" val="1219848036"/>
                    </a:ext>
                  </a:extLst>
                </a:gridCol>
                <a:gridCol w="2765760">
                  <a:extLst>
                    <a:ext uri="{9D8B030D-6E8A-4147-A177-3AD203B41FA5}">
                      <a16:colId xmlns:a16="http://schemas.microsoft.com/office/drawing/2014/main" val="3401342109"/>
                    </a:ext>
                  </a:extLst>
                </a:gridCol>
                <a:gridCol w="2856758">
                  <a:extLst>
                    <a:ext uri="{9D8B030D-6E8A-4147-A177-3AD203B41FA5}">
                      <a16:colId xmlns:a16="http://schemas.microsoft.com/office/drawing/2014/main" val="3218667685"/>
                    </a:ext>
                  </a:extLst>
                </a:gridCol>
                <a:gridCol w="2744013">
                  <a:extLst>
                    <a:ext uri="{9D8B030D-6E8A-4147-A177-3AD203B41FA5}">
                      <a16:colId xmlns:a16="http://schemas.microsoft.com/office/drawing/2014/main" val="1836440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Bas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Intermedi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Advanc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04582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52620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/>
                        <a:t>Risk Actions Pla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No formal Action Plans exist to manage reduction of key identified ris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Formal Action Plan in place to implement improvements in risk and to develop new contr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isk Action Plan reported to Board/Senior Management and subject to ongoing progress-track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63120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/>
                        <a:t>Organisational Risk Appet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Understanding of risk appetite but no officially set company policy on risk appet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isk appetite defined for key organisational activ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isk appetite the subject of regular Board discussions: Risk incentives included within remuneration policy/approa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063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Limited training delivered on importance of risk management and connection to good business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isk training (basic) provided to 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elected</a:t>
                      </a:r>
                      <a:r>
                        <a:rPr lang="en-GB" sz="1400" dirty="0"/>
                        <a:t> staff – ie. how to identify a risk, how to record risk, how to mitigate 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Risk training embedded within mandatory annual training: Comprehensive risk training for all staff (importance of risk management, managing risks, reviewing control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1328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Emerging Ris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No consideration given to future/emerging risks: no formal process for identifying emerging ris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Future risks identified and reviewed as part of annual strategic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Long term market/organisational structural risks formally identified and considered by Board within 5 Year Pl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005706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51000EF-690D-4F8C-AAE8-26D5C48E8C64}"/>
              </a:ext>
            </a:extLst>
          </p:cNvPr>
          <p:cNvSpPr txBox="1"/>
          <p:nvPr/>
        </p:nvSpPr>
        <p:spPr>
          <a:xfrm rot="16200000">
            <a:off x="-1040846" y="2934739"/>
            <a:ext cx="26821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 Domai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48327D7-71E4-EACA-CC96-7B1DE3B8BCD7}"/>
              </a:ext>
            </a:extLst>
          </p:cNvPr>
          <p:cNvSpPr txBox="1"/>
          <p:nvPr/>
        </p:nvSpPr>
        <p:spPr>
          <a:xfrm>
            <a:off x="1446943" y="5461594"/>
            <a:ext cx="92981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D60B52"/>
                </a:solidFill>
              </a:rPr>
              <a:t>Now evaluate what target level of maturity is appropriate for your organisation, and define action plans to get there.</a:t>
            </a:r>
          </a:p>
        </p:txBody>
      </p:sp>
    </p:spTree>
    <p:extLst>
      <p:ext uri="{BB962C8B-B14F-4D97-AF65-F5344CB8AC3E}">
        <p14:creationId xmlns:p14="http://schemas.microsoft.com/office/powerpoint/2010/main" val="2814182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1CC712-6BE4-C22E-B450-4AA7FC7F6B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2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38C26E2-2E43-8D7F-A0F1-03F9CC8E66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55244" y="1569545"/>
            <a:ext cx="5074709" cy="3459516"/>
          </a:xfrm>
        </p:spPr>
        <p:txBody>
          <a:bodyPr/>
          <a:lstStyle/>
          <a:p>
            <a:r>
              <a:rPr lang="en-GB" sz="6600" dirty="0"/>
              <a:t>Sources of Risk</a:t>
            </a:r>
          </a:p>
          <a:p>
            <a:r>
              <a:rPr lang="en-GB" sz="4800" dirty="0"/>
              <a:t>Checklist</a:t>
            </a:r>
            <a:r>
              <a:rPr lang="en-GB" sz="6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8054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DF445F-18F9-4C97-8E4D-17C2D69C4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218" y="0"/>
            <a:ext cx="10454952" cy="1127698"/>
          </a:xfrm>
        </p:spPr>
        <p:txBody>
          <a:bodyPr/>
          <a:lstStyle/>
          <a:p>
            <a:r>
              <a:rPr lang="en-GB" dirty="0">
                <a:solidFill>
                  <a:srgbClr val="D60B52"/>
                </a:solidFill>
              </a:rPr>
              <a:t>Risk Areas to Consider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CA9262AE-7873-4DEE-8A38-4CB9688436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9912958"/>
              </p:ext>
            </p:extLst>
          </p:nvPr>
        </p:nvGraphicFramePr>
        <p:xfrm>
          <a:off x="515380" y="1127698"/>
          <a:ext cx="11161240" cy="533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2741">
                  <a:extLst>
                    <a:ext uri="{9D8B030D-6E8A-4147-A177-3AD203B41FA5}">
                      <a16:colId xmlns:a16="http://schemas.microsoft.com/office/drawing/2014/main" val="1090938238"/>
                    </a:ext>
                  </a:extLst>
                </a:gridCol>
                <a:gridCol w="3449827">
                  <a:extLst>
                    <a:ext uri="{9D8B030D-6E8A-4147-A177-3AD203B41FA5}">
                      <a16:colId xmlns:a16="http://schemas.microsoft.com/office/drawing/2014/main" val="2611920402"/>
                    </a:ext>
                  </a:extLst>
                </a:gridCol>
                <a:gridCol w="6048672">
                  <a:extLst>
                    <a:ext uri="{9D8B030D-6E8A-4147-A177-3AD203B41FA5}">
                      <a16:colId xmlns:a16="http://schemas.microsoft.com/office/drawing/2014/main" val="32852985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isk 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Exam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otential Impa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6774904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Fina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Increased costs, loss of income, loss of marg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Inability to deliver service on a sustainable basis, contract renegotiation, price chang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4577828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Reputa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ustomer and market perception, quality of service, adverse publi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oss of customer confidence in service, contract renegotiation, reputation of TEC industry impac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7627408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Leg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Failure to meet legal requirements, product li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oss of commissioned contracts, regulatory fines (ie. ICO), product recalls, customer impact from non-delivery of product serv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076004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Regula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tandards compliance, TSA QS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oss of TSA QSF accreditation, external investigation (ie. ICO), external f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1087231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S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ontract non-compliance, unable to deliver service, quality of serv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oss of commissioned contracts, inability to bid for new contracts, financial impact of reduced customer flow, inability to meet TSA requirement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1272009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Sta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Risk of harm, loss of staff, skills ga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Inability to deliver quality service to Service Users leads to health impacts/harm, reduced staffing means inability to correctly staff 24/7 pres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6291838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Opera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Disruption, business continuity, loss of staff, supply failure/short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Requirement to institute Business Recovery Plan (BCP), interruptions to customer service could impact lived experience of Service Users, potential health impacts for service us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8542927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Produ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oss of staff, degraded efficiency, lack of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Inability to provide quality service to Service Users and potential health impacts, loss of commissioned contracts due to non-delivery of Service Level Agreement (SLA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7999811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Delay, cost increase, write 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Financial impact due to non-delivery, reduced revenue due to poor implemen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02274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38251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DF445F-18F9-4C97-8E4D-17C2D69C4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523"/>
            <a:ext cx="10454952" cy="1127698"/>
          </a:xfrm>
        </p:spPr>
        <p:txBody>
          <a:bodyPr/>
          <a:lstStyle/>
          <a:p>
            <a:r>
              <a:rPr lang="en-GB" dirty="0">
                <a:solidFill>
                  <a:srgbClr val="D60B52"/>
                </a:solidFill>
              </a:rPr>
              <a:t>Types of Risk to Consider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CA9262AE-7873-4DEE-8A38-4CB9688436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068492"/>
              </p:ext>
            </p:extLst>
          </p:nvPr>
        </p:nvGraphicFramePr>
        <p:xfrm>
          <a:off x="609600" y="1645920"/>
          <a:ext cx="11161240" cy="362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3326">
                  <a:extLst>
                    <a:ext uri="{9D8B030D-6E8A-4147-A177-3AD203B41FA5}">
                      <a16:colId xmlns:a16="http://schemas.microsoft.com/office/drawing/2014/main" val="1090938238"/>
                    </a:ext>
                  </a:extLst>
                </a:gridCol>
                <a:gridCol w="3719242">
                  <a:extLst>
                    <a:ext uri="{9D8B030D-6E8A-4147-A177-3AD203B41FA5}">
                      <a16:colId xmlns:a16="http://schemas.microsoft.com/office/drawing/2014/main" val="2611920402"/>
                    </a:ext>
                  </a:extLst>
                </a:gridCol>
                <a:gridCol w="6048672">
                  <a:extLst>
                    <a:ext uri="{9D8B030D-6E8A-4147-A177-3AD203B41FA5}">
                      <a16:colId xmlns:a16="http://schemas.microsoft.com/office/drawing/2014/main" val="32852985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isk 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Exam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otential Impa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6774904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Data compromised, data access, data loss, unable to analyse &amp; exploit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ICO reports, ICO fine, customer data exposed via cyber-risk (including denial of service via ransomwar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9309474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Custome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Risk of harm to service user, failure to deliver as promised, failure to meet nee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ervice User harm, external investigation of service, loss of commissioned contra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5689963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Business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Roadmap impact, failure to deliver new market propositions to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Business stagnation and failure to respond to changing market trends, reduced financial performance/sustaina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0632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dirty="0">
                          <a:solidFill>
                            <a:schemeClr val="tx1"/>
                          </a:solidFill>
                        </a:rPr>
                        <a:t>Mar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Issues impacting market value, failure to meet market needs, market disru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Reduced commercial sustainability, lack of innovation, through failure to understand changing customer nee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3374272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GB" sz="2000" b="1" dirty="0"/>
                        <a:t>Techn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Analogue to Digital Transition, interoperability, cyber threat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Inability to successfully transition customers through to new digital age, inability to take hold of new digital opportunities, additional cost of digital equipment compromises/changes customer pr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96549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5298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y8h7ig0bpxVHTLGXzg_Q"/>
</p:tagLst>
</file>

<file path=ppt/theme/theme1.xml><?xml version="1.0" encoding="utf-8"?>
<a:theme xmlns:a="http://schemas.openxmlformats.org/drawingml/2006/main" name="TSA - Master text">
  <a:themeElements>
    <a:clrScheme name="TSA slide deck">
      <a:dk1>
        <a:srgbClr val="000749"/>
      </a:dk1>
      <a:lt1>
        <a:srgbClr val="FFFFFF"/>
      </a:lt1>
      <a:dk2>
        <a:srgbClr val="565755"/>
      </a:dk2>
      <a:lt2>
        <a:srgbClr val="F7F8F7"/>
      </a:lt2>
      <a:accent1>
        <a:srgbClr val="D60B51"/>
      </a:accent1>
      <a:accent2>
        <a:srgbClr val="000749"/>
      </a:accent2>
      <a:accent3>
        <a:srgbClr val="F6CDDC"/>
      </a:accent3>
      <a:accent4>
        <a:srgbClr val="FBE6EE"/>
      </a:accent4>
      <a:accent5>
        <a:srgbClr val="CDCECC"/>
      </a:accent5>
      <a:accent6>
        <a:srgbClr val="F1F2F1"/>
      </a:accent6>
      <a:hlink>
        <a:srgbClr val="00ABE3"/>
      </a:hlink>
      <a:folHlink>
        <a:srgbClr val="CDCEC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02CCA250C96C40B8F3B72D334919B9" ma:contentTypeVersion="11" ma:contentTypeDescription="Create a new document." ma:contentTypeScope="" ma:versionID="994a0a0aa5ff9948871ced52d0b90070">
  <xsd:schema xmlns:xsd="http://www.w3.org/2001/XMLSchema" xmlns:xs="http://www.w3.org/2001/XMLSchema" xmlns:p="http://schemas.microsoft.com/office/2006/metadata/properties" xmlns:ns2="e5874659-4e22-40b5-9436-ae1d88176db8" xmlns:ns3="5107b649-8973-4dc4-b043-623d14cb6558" targetNamespace="http://schemas.microsoft.com/office/2006/metadata/properties" ma:root="true" ma:fieldsID="6a592e45b3bd34c004670ad7bc5a4b4a" ns2:_="" ns3:_="">
    <xsd:import namespace="e5874659-4e22-40b5-9436-ae1d88176db8"/>
    <xsd:import namespace="5107b649-8973-4dc4-b043-623d14cb6558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874659-4e22-40b5-9436-ae1d88176db8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e412e766-30f6-4ae8-89f4-b15526f3e7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07b649-8973-4dc4-b043-623d14cb6558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1968367f-c946-4ee3-a880-14da79122cff}" ma:internalName="TaxCatchAll" ma:showField="CatchAllData" ma:web="5107b649-8973-4dc4-b043-623d14cb65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5874659-4e22-40b5-9436-ae1d88176db8">
      <Terms xmlns="http://schemas.microsoft.com/office/infopath/2007/PartnerControls"/>
    </lcf76f155ced4ddcb4097134ff3c332f>
    <TaxCatchAll xmlns="5107b649-8973-4dc4-b043-623d14cb6558" xsi:nil="true"/>
  </documentManagement>
</p:properties>
</file>

<file path=customXml/itemProps1.xml><?xml version="1.0" encoding="utf-8"?>
<ds:datastoreItem xmlns:ds="http://schemas.openxmlformats.org/officeDocument/2006/customXml" ds:itemID="{F906DB26-073D-4706-8226-D5460334BF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93F730-42DD-4F4C-954A-45D6C753575B}"/>
</file>

<file path=customXml/itemProps3.xml><?xml version="1.0" encoding="utf-8"?>
<ds:datastoreItem xmlns:ds="http://schemas.openxmlformats.org/officeDocument/2006/customXml" ds:itemID="{F6D6000C-6EA2-4E6C-AC50-E65E2E0486DB}">
  <ds:schemaRefs>
    <ds:schemaRef ds:uri="http://schemas.microsoft.com/office/2006/metadata/properties"/>
    <ds:schemaRef ds:uri="http://schemas.microsoft.com/office/infopath/2007/PartnerControls"/>
    <ds:schemaRef ds:uri="e5874659-4e22-40b5-9436-ae1d88176db8"/>
    <ds:schemaRef ds:uri="5107b649-8973-4dc4-b043-623d14cb655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54</TotalTime>
  <Words>1886</Words>
  <Application>Microsoft Office PowerPoint</Application>
  <PresentationFormat>Widescreen</PresentationFormat>
  <Paragraphs>267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rial</vt:lpstr>
      <vt:lpstr>Calibri</vt:lpstr>
      <vt:lpstr>Georgia</vt:lpstr>
      <vt:lpstr>Museo Sans 300</vt:lpstr>
      <vt:lpstr>Museo Sans 500</vt:lpstr>
      <vt:lpstr>Museo Sans 700</vt:lpstr>
      <vt:lpstr>Museo Sans 900</vt:lpstr>
      <vt:lpstr>Wingdings</vt:lpstr>
      <vt:lpstr>TSA - Master text</vt:lpstr>
      <vt:lpstr>5_Custom Design</vt:lpstr>
      <vt:lpstr>1_Custom Design</vt:lpstr>
      <vt:lpstr>think-cell Slide</vt:lpstr>
      <vt:lpstr>Risk Management Toolkit  </vt:lpstr>
      <vt:lpstr>Risk Management Tools &amp; Templates</vt:lpstr>
      <vt:lpstr>PowerPoint Presentation</vt:lpstr>
      <vt:lpstr>Different levels of risk management maturity</vt:lpstr>
      <vt:lpstr>PowerPoint Presentation</vt:lpstr>
      <vt:lpstr>PowerPoint Presentation</vt:lpstr>
      <vt:lpstr>PowerPoint Presentation</vt:lpstr>
      <vt:lpstr>Risk Areas to Consider</vt:lpstr>
      <vt:lpstr>Types of Risk to Consider</vt:lpstr>
      <vt:lpstr>Potential causes of risk</vt:lpstr>
      <vt:lpstr>PowerPoint Presentation</vt:lpstr>
      <vt:lpstr>2021 Risk Survey    Short-Term Risks </vt:lpstr>
      <vt:lpstr>Short-Term Risks (1-2 years) </vt:lpstr>
      <vt:lpstr>PowerPoint Presentation</vt:lpstr>
      <vt:lpstr>Emergent Risks (2-5 years)</vt:lpstr>
      <vt:lpstr>PowerPoint Presentation</vt:lpstr>
      <vt:lpstr>Defining Risk Likelihood &amp; Severity</vt:lpstr>
      <vt:lpstr>Risk Impact - Mapping Matrix</vt:lpstr>
      <vt:lpstr>PowerPoint Presentation</vt:lpstr>
      <vt:lpstr>Risk Register template</vt:lpstr>
      <vt:lpstr>PowerPoint Presentation</vt:lpstr>
      <vt:lpstr>Risk Incident  Escalation  template</vt:lpstr>
      <vt:lpstr>Acknowledg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Struth</dc:creator>
  <cp:lastModifiedBy>Alan Williamson</cp:lastModifiedBy>
  <cp:revision>200</cp:revision>
  <dcterms:created xsi:type="dcterms:W3CDTF">2021-07-21T14:16:31Z</dcterms:created>
  <dcterms:modified xsi:type="dcterms:W3CDTF">2023-03-10T09:5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02CCA250C96C40B8F3B72D334919B9</vt:lpwstr>
  </property>
  <property fmtid="{D5CDD505-2E9C-101B-9397-08002B2CF9AE}" pid="3" name="MediaServiceImageTags">
    <vt:lpwstr/>
  </property>
</Properties>
</file>